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8"/>
  </p:notesMasterIdLst>
  <p:handoutMasterIdLst>
    <p:handoutMasterId r:id="rId9"/>
  </p:handoutMasterIdLst>
  <p:sldIdLst>
    <p:sldId id="437" r:id="rId7"/>
  </p:sldIdLst>
  <p:sldSz cx="12192000" cy="6858000"/>
  <p:notesSz cx="6858000" cy="9947275"/>
  <p:custDataLst>
    <p:tags r:id="rId10"/>
  </p:custDataLst>
  <p:defaultTextStyle>
    <a:defPPr>
      <a:defRPr lang="de-DE"/>
    </a:defPPr>
    <a:lvl1pPr marL="0" indent="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None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110000"/>
      </a:lnSpc>
      <a:spcBef>
        <a:spcPts val="0"/>
      </a:spcBef>
      <a:spcAft>
        <a:spcPts val="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None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16000" indent="-21600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432000" indent="-21600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anna Zoltowska" initials="JZ" lastIdx="3" clrIdx="0">
    <p:extLst>
      <p:ext uri="{19B8F6BF-5375-455C-9EA6-DF929625EA0E}">
        <p15:presenceInfo xmlns:p15="http://schemas.microsoft.com/office/powerpoint/2012/main" userId="S-1-5-21-2900290652-3162160026-1438150922-12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D2D2D2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E97D87-A029-4C6C-A0FF-1963AD8DBCBE}">
  <a:tblStyle styleId="{69E97D87-A029-4C6C-A0FF-1963AD8DBCBE}" styleName="EUREX Tab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/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/>
      </a:tcStyle>
    </a:band2V>
    <a:lastCo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30FC0DDD-37FB-4523-A006-01308BA8B187}" styleName="EUREX Table Green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/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/>
      </a:tcStyle>
    </a:band2V>
    <a:lastCol>
      <a:tcTxStyle b="on" i="off">
        <a:fontRef idx="minor"/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rgbClr val="DCDCDC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swCell>
    <a:firstRow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tx2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rgbClr val="DCDCDC"/>
              </a:solidFill>
              <a:prstDash val="solid"/>
            </a:ln>
          </a:bottom>
          <a:insideH>
            <a:ln w="6350" cap="flat" cmpd="sng" algn="ctr">
              <a:solidFill>
                <a:srgbClr val="DCDCDC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3328C8A7-C3E3-475F-BAE9-F2AA3C6B7DF7}" styleName="EUREX Table Grid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wholeTbl>
    <a:band1H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H>
    <a:band2H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1"/>
          </a:solidFill>
        </a:fill>
      </a:tcStyle>
    </a:band2H>
    <a:band1V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band1V>
    <a:band2V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1"/>
          </a:solidFill>
        </a:fill>
      </a:tcStyle>
    </a:band2V>
    <a:lastCol>
      <a:tcTxStyle b="on" i="off">
        <a:fontRef idx="minor"/>
        <a:schemeClr val="tx1"/>
      </a:tcTxStyle>
      <a:tcStyle>
        <a:tcBdr>
          <a:left>
            <a:ln w="19050" cap="flat" cmpd="sng" algn="ctr">
              <a:solidFill>
                <a:srgbClr val="FFFFFF"/>
              </a:solidFill>
              <a:prstDash val="solid"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Col>
    <a:firstCol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bg2"/>
          </a:solidFill>
        </a:fill>
      </a:tcStyle>
    </a:lastRow>
    <a:seCell>
      <a:tcStyle>
        <a:tcBdr/>
      </a:tcStyle>
    </a:seCell>
    <a:swCell>
      <a:tcTxStyle b="on" i="off">
        <a:fontRef idx="minor"/>
        <a:schemeClr val="bg2"/>
      </a:tcTxStyle>
      <a:tcStyle>
        <a:tcBdr>
          <a:left>
            <a:ln>
              <a:noFill/>
            </a:ln>
          </a:left>
          <a:right>
            <a:ln w="19050" cap="flat" cmpd="sng" algn="ctr">
              <a:solidFill>
                <a:srgbClr val="FFFFFF"/>
              </a:solidFill>
              <a:prstDash val="solid"/>
            </a:ln>
          </a:right>
          <a:top>
            <a:ln w="19050" cap="flat" cmpd="sng" algn="ctr">
              <a:solidFill>
                <a:srgbClr val="FFFFFF"/>
              </a:solidFill>
              <a:prstDash val="solid"/>
            </a:ln>
          </a:top>
          <a:bottom>
            <a:ln>
              <a:noFill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n" i="off">
        <a:fontRef idx="major"/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ap="flat" cmpd="sng" algn="ctr">
              <a:solidFill>
                <a:srgbClr val="FFFFFF"/>
              </a:solidFill>
              <a:prstDash val="solid"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firstRow>
    <a:neCell>
      <a:tcStyle>
        <a:tcBdr/>
      </a:tcStyle>
    </a:neCell>
    <a:n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ap="flat" cmpd="sng" algn="ctr">
              <a:solidFill>
                <a:srgbClr val="FFFFFF"/>
              </a:solidFill>
              <a:prstDash val="solid"/>
            </a:ln>
          </a:bottom>
          <a:insideH>
            <a:ln w="19050" cap="flat" cmpd="sng" algn="ctr">
              <a:solidFill>
                <a:srgbClr val="FFFFFF"/>
              </a:solidFill>
              <a:prstDash val="solid"/>
            </a:ln>
          </a:insideH>
          <a:insideV>
            <a:ln w="19050" cap="flat" cmpd="sng" algn="ctr">
              <a:solidFill>
                <a:srgbClr val="FFFFFF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6201" autoAdjust="0"/>
  </p:normalViewPr>
  <p:slideViewPr>
    <p:cSldViewPr snapToObjects="1" showGuides="1">
      <p:cViewPr varScale="1">
        <p:scale>
          <a:sx n="139" d="100"/>
          <a:sy n="139" d="100"/>
        </p:scale>
        <p:origin x="180" y="5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74" d="100"/>
          <a:sy n="74" d="100"/>
        </p:scale>
        <p:origin x="2982" y="6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64628E9-09A9-41A1-BA0F-64ED3F8EAB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299F13-B674-4F0C-91D5-5A9F8600A5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B42EC-036F-448D-9D6B-264CF4D9AD5E}" type="datetimeFigureOut">
              <a:rPr lang="de-DE"/>
              <a:t>31.08.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BADF13-FAC5-4341-A983-76083E21350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105283-9844-4FA4-8ED5-E398C5C496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9DB8B-FD84-473E-8D2A-AD8FDE25B74C}" type="slidenum">
              <a:rPr lang="de-DE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5889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EA068ACA-AF5A-4E1F-89CF-71C85BC01196}" type="datetimeFigureOut">
              <a:rPr lang="en-US"/>
              <a:pPr/>
              <a:t>8/31/20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4EE2F00-0481-4374-BAE1-182BA4DD3D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42151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EE2F00-0481-4374-BAE1-182BA4DD3D8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798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1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19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6.xml"/><Relationship Id="rId7" Type="http://schemas.openxmlformats.org/officeDocument/2006/relationships/image" Target="../media/image6.emf"/><Relationship Id="rId2" Type="http://schemas.openxmlformats.org/officeDocument/2006/relationships/tags" Target="../tags/tag4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1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8.xml"/><Relationship Id="rId7" Type="http://schemas.openxmlformats.org/officeDocument/2006/relationships/image" Target="../media/image5.emf"/><Relationship Id="rId2" Type="http://schemas.openxmlformats.org/officeDocument/2006/relationships/tags" Target="../tags/tag4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19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8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7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8.emf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956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9pPr>
          </a:lstStyle>
          <a:p>
            <a:fld id="{135B7705-0507-47FB-92FF-E6630F833492}" type="datetime1">
              <a:rPr lang="en-US"/>
              <a:t>8/31/2022</a:t>
            </a:fld>
            <a:endParaRPr lang="en-US" dirty="0"/>
          </a:p>
        </p:txBody>
      </p:sp>
      <p:grpSp>
        <p:nvGrpSpPr>
          <p:cNvPr id="28" name="Grafik 26">
            <a:extLst>
              <a:ext uri="{FF2B5EF4-FFF2-40B4-BE49-F238E27FC236}">
                <a16:creationId xmlns:a16="http://schemas.microsoft.com/office/drawing/2014/main" id="{3D57C2D4-C01A-4857-9D61-9F2435B053AD}"/>
              </a:ext>
            </a:extLst>
          </p:cNvPr>
          <p:cNvGrpSpPr/>
          <p:nvPr/>
        </p:nvGrpSpPr>
        <p:grpSpPr bwMode="gray">
          <a:xfrm flipV="1">
            <a:off x="8796137" y="2744924"/>
            <a:ext cx="3392976" cy="4120042"/>
            <a:chOff x="5267908" y="2744924"/>
            <a:chExt cx="3392976" cy="4120042"/>
          </a:xfrm>
        </p:grpSpPr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DE8DAE5-42A1-4DC4-8EBC-FC4EB00505B8}"/>
                </a:ext>
              </a:extLst>
            </p:cNvPr>
            <p:cNvSpPr/>
            <p:nvPr/>
          </p:nvSpPr>
          <p:spPr bwMode="gray">
            <a:xfrm>
              <a:off x="6479685" y="3229634"/>
              <a:ext cx="1211777" cy="1211777"/>
            </a:xfrm>
            <a:custGeom>
              <a:avLst/>
              <a:gdLst>
                <a:gd name="connsiteX0" fmla="*/ 0 w 1211777"/>
                <a:gd name="connsiteY0" fmla="*/ 0 h 1211777"/>
                <a:gd name="connsiteX1" fmla="*/ 1211777 w 1211777"/>
                <a:gd name="connsiteY1" fmla="*/ 0 h 1211777"/>
                <a:gd name="connsiteX2" fmla="*/ 1211777 w 1211777"/>
                <a:gd name="connsiteY2" fmla="*/ 1211777 h 1211777"/>
                <a:gd name="connsiteX3" fmla="*/ 0 w 1211777"/>
                <a:gd name="connsiteY3" fmla="*/ 1211777 h 121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1211777">
                  <a:moveTo>
                    <a:pt x="0" y="0"/>
                  </a:moveTo>
                  <a:lnTo>
                    <a:pt x="1211777" y="0"/>
                  </a:lnTo>
                  <a:lnTo>
                    <a:pt x="1211777" y="1211777"/>
                  </a:lnTo>
                  <a:lnTo>
                    <a:pt x="0" y="1211777"/>
                  </a:lnTo>
                  <a:close/>
                </a:path>
              </a:pathLst>
            </a:custGeom>
            <a:solidFill>
              <a:srgbClr val="00CE7D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A006B06-7E30-476E-80C1-4F201D7E84E9}"/>
                </a:ext>
              </a:extLst>
            </p:cNvPr>
            <p:cNvSpPr/>
            <p:nvPr/>
          </p:nvSpPr>
          <p:spPr bwMode="gray">
            <a:xfrm>
              <a:off x="5267908" y="2744924"/>
              <a:ext cx="1211777" cy="484710"/>
            </a:xfrm>
            <a:custGeom>
              <a:avLst/>
              <a:gdLst>
                <a:gd name="connsiteX0" fmla="*/ 0 w 1211777"/>
                <a:gd name="connsiteY0" fmla="*/ 0 h 484710"/>
                <a:gd name="connsiteX1" fmla="*/ 1211777 w 1211777"/>
                <a:gd name="connsiteY1" fmla="*/ 0 h 484710"/>
                <a:gd name="connsiteX2" fmla="*/ 1211777 w 1211777"/>
                <a:gd name="connsiteY2" fmla="*/ 484711 h 484710"/>
                <a:gd name="connsiteX3" fmla="*/ 0 w 1211777"/>
                <a:gd name="connsiteY3" fmla="*/ 484711 h 48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484710">
                  <a:moveTo>
                    <a:pt x="0" y="0"/>
                  </a:moveTo>
                  <a:lnTo>
                    <a:pt x="1211777" y="0"/>
                  </a:lnTo>
                  <a:lnTo>
                    <a:pt x="1211777" y="484711"/>
                  </a:lnTo>
                  <a:lnTo>
                    <a:pt x="0" y="484711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E708ABD0-790C-43C1-84ED-8175CC87B7CB}"/>
                </a:ext>
              </a:extLst>
            </p:cNvPr>
            <p:cNvSpPr/>
            <p:nvPr/>
          </p:nvSpPr>
          <p:spPr bwMode="gray">
            <a:xfrm>
              <a:off x="5267908" y="4441411"/>
              <a:ext cx="1211777" cy="2423554"/>
            </a:xfrm>
            <a:custGeom>
              <a:avLst/>
              <a:gdLst>
                <a:gd name="connsiteX0" fmla="*/ 0 w 1211777"/>
                <a:gd name="connsiteY0" fmla="*/ 0 h 2423554"/>
                <a:gd name="connsiteX1" fmla="*/ 1211777 w 1211777"/>
                <a:gd name="connsiteY1" fmla="*/ 0 h 2423554"/>
                <a:gd name="connsiteX2" fmla="*/ 1211777 w 1211777"/>
                <a:gd name="connsiteY2" fmla="*/ 2423554 h 2423554"/>
                <a:gd name="connsiteX3" fmla="*/ 0 w 1211777"/>
                <a:gd name="connsiteY3" fmla="*/ 2423554 h 242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1777" h="2423554">
                  <a:moveTo>
                    <a:pt x="0" y="0"/>
                  </a:moveTo>
                  <a:lnTo>
                    <a:pt x="1211777" y="0"/>
                  </a:lnTo>
                  <a:lnTo>
                    <a:pt x="1211777" y="2423554"/>
                  </a:lnTo>
                  <a:lnTo>
                    <a:pt x="0" y="2423554"/>
                  </a:lnTo>
                  <a:close/>
                </a:path>
              </a:pathLst>
            </a:custGeom>
            <a:gradFill>
              <a:gsLst>
                <a:gs pos="90000">
                  <a:schemeClr val="bg2"/>
                </a:gs>
                <a:gs pos="20000">
                  <a:srgbClr val="00CE7D"/>
                </a:gs>
              </a:gsLst>
              <a:lin ang="5400000" scaled="1"/>
            </a:gra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1CDDECDE-B2C3-49EE-ACEE-E824431939D5}"/>
                </a:ext>
              </a:extLst>
            </p:cNvPr>
            <p:cNvSpPr/>
            <p:nvPr/>
          </p:nvSpPr>
          <p:spPr bwMode="gray">
            <a:xfrm>
              <a:off x="7691462" y="2744924"/>
              <a:ext cx="969421" cy="1696487"/>
            </a:xfrm>
            <a:custGeom>
              <a:avLst/>
              <a:gdLst>
                <a:gd name="connsiteX0" fmla="*/ 969422 w 969421"/>
                <a:gd name="connsiteY0" fmla="*/ 0 h 1696487"/>
                <a:gd name="connsiteX1" fmla="*/ 0 w 969421"/>
                <a:gd name="connsiteY1" fmla="*/ 0 h 1696487"/>
                <a:gd name="connsiteX2" fmla="*/ 0 w 969421"/>
                <a:gd name="connsiteY2" fmla="*/ 1696488 h 1696487"/>
                <a:gd name="connsiteX3" fmla="*/ 969422 w 969421"/>
                <a:gd name="connsiteY3" fmla="*/ 1211898 h 1696487"/>
                <a:gd name="connsiteX4" fmla="*/ 969422 w 969421"/>
                <a:gd name="connsiteY4" fmla="*/ 0 h 169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9421" h="1696487">
                  <a:moveTo>
                    <a:pt x="969422" y="0"/>
                  </a:moveTo>
                  <a:lnTo>
                    <a:pt x="0" y="0"/>
                  </a:lnTo>
                  <a:lnTo>
                    <a:pt x="0" y="1696488"/>
                  </a:lnTo>
                  <a:cubicBezTo>
                    <a:pt x="396372" y="1696488"/>
                    <a:pt x="748394" y="1506118"/>
                    <a:pt x="969422" y="1211898"/>
                  </a:cubicBezTo>
                  <a:lnTo>
                    <a:pt x="969422" y="0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7A91B63-ABB8-431C-8DC5-318EADCEA8A7}"/>
                </a:ext>
              </a:extLst>
            </p:cNvPr>
            <p:cNvSpPr/>
            <p:nvPr/>
          </p:nvSpPr>
          <p:spPr bwMode="gray">
            <a:xfrm>
              <a:off x="7691462" y="5895544"/>
              <a:ext cx="969421" cy="969421"/>
            </a:xfrm>
            <a:custGeom>
              <a:avLst/>
              <a:gdLst>
                <a:gd name="connsiteX0" fmla="*/ 0 w 969421"/>
                <a:gd name="connsiteY0" fmla="*/ 969422 h 969421"/>
                <a:gd name="connsiteX1" fmla="*/ 969422 w 969421"/>
                <a:gd name="connsiteY1" fmla="*/ 969422 h 969421"/>
                <a:gd name="connsiteX2" fmla="*/ 969422 w 969421"/>
                <a:gd name="connsiteY2" fmla="*/ 0 h 96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9421" h="969421">
                  <a:moveTo>
                    <a:pt x="0" y="969422"/>
                  </a:moveTo>
                  <a:lnTo>
                    <a:pt x="969422" y="969422"/>
                  </a:lnTo>
                  <a:lnTo>
                    <a:pt x="969422" y="0"/>
                  </a:lnTo>
                  <a:close/>
                </a:path>
              </a:pathLst>
            </a:custGeom>
            <a:solidFill>
              <a:srgbClr val="201751"/>
            </a:soli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42AE8AFB-D670-4E0D-A62C-E61AED66A362}"/>
                </a:ext>
              </a:extLst>
            </p:cNvPr>
            <p:cNvSpPr/>
            <p:nvPr/>
          </p:nvSpPr>
          <p:spPr bwMode="gray">
            <a:xfrm>
              <a:off x="6479685" y="4441411"/>
              <a:ext cx="2181198" cy="2423554"/>
            </a:xfrm>
            <a:custGeom>
              <a:avLst/>
              <a:gdLst>
                <a:gd name="connsiteX0" fmla="*/ 2181199 w 2181198"/>
                <a:gd name="connsiteY0" fmla="*/ 0 h 2423554"/>
                <a:gd name="connsiteX1" fmla="*/ 1211777 w 2181198"/>
                <a:gd name="connsiteY1" fmla="*/ 0 h 2423554"/>
                <a:gd name="connsiteX2" fmla="*/ 0 w 2181198"/>
                <a:gd name="connsiteY2" fmla="*/ 1211777 h 2423554"/>
                <a:gd name="connsiteX3" fmla="*/ 0 w 2181198"/>
                <a:gd name="connsiteY3" fmla="*/ 2423554 h 2423554"/>
                <a:gd name="connsiteX4" fmla="*/ 2181199 w 2181198"/>
                <a:gd name="connsiteY4" fmla="*/ 242355 h 2423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1198" h="2423554">
                  <a:moveTo>
                    <a:pt x="2181199" y="0"/>
                  </a:moveTo>
                  <a:lnTo>
                    <a:pt x="1211777" y="0"/>
                  </a:lnTo>
                  <a:lnTo>
                    <a:pt x="0" y="1211777"/>
                  </a:lnTo>
                  <a:lnTo>
                    <a:pt x="0" y="2423554"/>
                  </a:lnTo>
                  <a:lnTo>
                    <a:pt x="2181199" y="242355"/>
                  </a:lnTo>
                  <a:close/>
                </a:path>
              </a:pathLst>
            </a:custGeom>
            <a:gradFill flip="none" rotWithShape="1">
              <a:gsLst>
                <a:gs pos="19000">
                  <a:srgbClr val="F3F3F3"/>
                </a:gs>
                <a:gs pos="80000">
                  <a:srgbClr val="00CE7D"/>
                </a:gs>
              </a:gsLst>
              <a:lin ang="5400000" scaled="1"/>
              <a:tileRect/>
            </a:gradFill>
            <a:ln w="121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8B0F1F5-32CB-46FB-A57C-768A45D8E96A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87DEB9FA-5B33-4F7B-BC80-69B778EE8707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9F4E9F1-87F8-406C-AC6D-E67BCDA1A59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3500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Blu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5C492C4-0AE2-4403-87B6-3B7AC0306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828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A7A32B11-6251-44A6-A455-7582171F14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73990" y="2060575"/>
            <a:ext cx="1718009" cy="2577013"/>
            <a:chOff x="10473990" y="2384884"/>
            <a:chExt cx="1718009" cy="2577013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FE4E3F4A-92EE-40B8-83C3-F687E3836A35}"/>
                </a:ext>
              </a:extLst>
            </p:cNvPr>
            <p:cNvSpPr/>
            <p:nvPr/>
          </p:nvSpPr>
          <p:spPr bwMode="gray">
            <a:xfrm>
              <a:off x="10473990" y="4102893"/>
              <a:ext cx="859004" cy="859004"/>
            </a:xfrm>
            <a:custGeom>
              <a:avLst/>
              <a:gdLst>
                <a:gd name="connsiteX0" fmla="*/ 0 w 859004"/>
                <a:gd name="connsiteY0" fmla="*/ 0 h 859004"/>
                <a:gd name="connsiteX1" fmla="*/ 859005 w 859004"/>
                <a:gd name="connsiteY1" fmla="*/ 0 h 859004"/>
                <a:gd name="connsiteX2" fmla="*/ 859005 w 859004"/>
                <a:gd name="connsiteY2" fmla="*/ 859005 h 859004"/>
                <a:gd name="connsiteX3" fmla="*/ 0 w 859004"/>
                <a:gd name="connsiteY3" fmla="*/ 859005 h 85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9004" h="859004">
                  <a:moveTo>
                    <a:pt x="0" y="0"/>
                  </a:moveTo>
                  <a:lnTo>
                    <a:pt x="859005" y="0"/>
                  </a:lnTo>
                  <a:lnTo>
                    <a:pt x="859005" y="859005"/>
                  </a:lnTo>
                  <a:lnTo>
                    <a:pt x="0" y="859005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CA577BB-972D-4F24-9540-3277C01DF70D}"/>
                </a:ext>
              </a:extLst>
            </p:cNvPr>
            <p:cNvSpPr/>
            <p:nvPr/>
          </p:nvSpPr>
          <p:spPr bwMode="gray">
            <a:xfrm>
              <a:off x="11332994" y="2384884"/>
              <a:ext cx="859004" cy="859004"/>
            </a:xfrm>
            <a:custGeom>
              <a:avLst/>
              <a:gdLst>
                <a:gd name="connsiteX0" fmla="*/ 859005 w 859004"/>
                <a:gd name="connsiteY0" fmla="*/ 859005 h 859004"/>
                <a:gd name="connsiteX1" fmla="*/ 0 w 859004"/>
                <a:gd name="connsiteY1" fmla="*/ 0 h 859004"/>
                <a:gd name="connsiteX2" fmla="*/ 859005 w 859004"/>
                <a:gd name="connsiteY2" fmla="*/ 0 h 85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9004" h="859004">
                  <a:moveTo>
                    <a:pt x="859005" y="859005"/>
                  </a:moveTo>
                  <a:lnTo>
                    <a:pt x="0" y="0"/>
                  </a:lnTo>
                  <a:lnTo>
                    <a:pt x="859005" y="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ED901D5-BFA6-429C-BBEF-FF46FC43B6B5}"/>
                </a:ext>
              </a:extLst>
            </p:cNvPr>
            <p:cNvSpPr/>
            <p:nvPr/>
          </p:nvSpPr>
          <p:spPr bwMode="gray">
            <a:xfrm>
              <a:off x="10473990" y="2384884"/>
              <a:ext cx="1718009" cy="1718009"/>
            </a:xfrm>
            <a:custGeom>
              <a:avLst/>
              <a:gdLst>
                <a:gd name="connsiteX0" fmla="*/ 859005 w 1718009"/>
                <a:gd name="connsiteY0" fmla="*/ 859005 h 1718009"/>
                <a:gd name="connsiteX1" fmla="*/ 1718009 w 1718009"/>
                <a:gd name="connsiteY1" fmla="*/ 1718009 h 1718009"/>
                <a:gd name="connsiteX2" fmla="*/ 859005 w 1718009"/>
                <a:gd name="connsiteY2" fmla="*/ 1718009 h 1718009"/>
                <a:gd name="connsiteX3" fmla="*/ 0 w 1718009"/>
                <a:gd name="connsiteY3" fmla="*/ 859005 h 1718009"/>
                <a:gd name="connsiteX4" fmla="*/ 0 w 1718009"/>
                <a:gd name="connsiteY4" fmla="*/ 0 h 171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8009" h="1718009">
                  <a:moveTo>
                    <a:pt x="859005" y="859005"/>
                  </a:moveTo>
                  <a:lnTo>
                    <a:pt x="1718009" y="1718009"/>
                  </a:lnTo>
                  <a:lnTo>
                    <a:pt x="859005" y="1718009"/>
                  </a:lnTo>
                  <a:lnTo>
                    <a:pt x="0" y="8590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7E09BA-4FEF-48FD-B8AD-8B50BF94E73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EF853E5D-858B-4FE7-B192-D1EFD3740DB4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47D739-476D-4DE4-8BF7-5CCF6A910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008FA13-4F46-43E8-8C4A-E6808D2ECEB1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688490E6-CD8F-4578-905B-A0F1C6B302D1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F65C1DB4-4C55-469E-906D-B37E7D9F7EB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4FEAB16E-7C7E-49B9-A429-8267A3BB3F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01200" y="6376596"/>
            <a:ext cx="576000" cy="12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452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Green">
    <p:bg bwMode="gray">
      <p:bgPr>
        <a:solidFill>
          <a:srgbClr val="00C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C0DC1B9-CE44-43BF-AF22-E6DDB6B778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3677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DF4B65-EABB-4FE0-B71C-17F94088B9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6376596"/>
            <a:ext cx="576063" cy="126555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C2E47A4-CAB6-46B8-BE0C-44B1499FF68C}"/>
              </a:ext>
            </a:extLst>
          </p:cNvPr>
          <p:cNvGrpSpPr/>
          <p:nvPr/>
        </p:nvGrpSpPr>
        <p:grpSpPr bwMode="gray">
          <a:xfrm>
            <a:off x="9167664" y="2060848"/>
            <a:ext cx="3024336" cy="1512168"/>
            <a:chOff x="9167664" y="2060848"/>
            <a:chExt cx="3024336" cy="1512168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16D54DAA-8AB7-4859-BE73-CA410CA89430}"/>
                </a:ext>
              </a:extLst>
            </p:cNvPr>
            <p:cNvSpPr/>
            <p:nvPr/>
          </p:nvSpPr>
          <p:spPr bwMode="gray">
            <a:xfrm>
              <a:off x="11435916" y="2060848"/>
              <a:ext cx="756084" cy="756084"/>
            </a:xfrm>
            <a:custGeom>
              <a:avLst/>
              <a:gdLst>
                <a:gd name="connsiteX0" fmla="*/ 756084 w 756084"/>
                <a:gd name="connsiteY0" fmla="*/ 0 h 756084"/>
                <a:gd name="connsiteX1" fmla="*/ 756084 w 756084"/>
                <a:gd name="connsiteY1" fmla="*/ 756084 h 756084"/>
                <a:gd name="connsiteX2" fmla="*/ 0 w 756084"/>
                <a:gd name="connsiteY2" fmla="*/ 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6084" h="756084">
                  <a:moveTo>
                    <a:pt x="756084" y="0"/>
                  </a:moveTo>
                  <a:lnTo>
                    <a:pt x="756084" y="7560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751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BF8DF8B8-D3D5-4E11-A199-7C77DE2D3D27}"/>
                </a:ext>
              </a:extLst>
            </p:cNvPr>
            <p:cNvSpPr/>
            <p:nvPr/>
          </p:nvSpPr>
          <p:spPr bwMode="gray">
            <a:xfrm>
              <a:off x="10679832" y="2060848"/>
              <a:ext cx="1512168" cy="1512168"/>
            </a:xfrm>
            <a:custGeom>
              <a:avLst/>
              <a:gdLst>
                <a:gd name="connsiteX0" fmla="*/ 0 w 1512168"/>
                <a:gd name="connsiteY0" fmla="*/ 0 h 1512168"/>
                <a:gd name="connsiteX1" fmla="*/ 0 w 1512168"/>
                <a:gd name="connsiteY1" fmla="*/ 756084 h 1512168"/>
                <a:gd name="connsiteX2" fmla="*/ 756084 w 1512168"/>
                <a:gd name="connsiteY2" fmla="*/ 1512168 h 1512168"/>
                <a:gd name="connsiteX3" fmla="*/ 1512168 w 1512168"/>
                <a:gd name="connsiteY3" fmla="*/ 1512168 h 151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2168" h="1512168">
                  <a:moveTo>
                    <a:pt x="0" y="0"/>
                  </a:moveTo>
                  <a:lnTo>
                    <a:pt x="0" y="756084"/>
                  </a:lnTo>
                  <a:lnTo>
                    <a:pt x="756084" y="1512168"/>
                  </a:lnTo>
                  <a:lnTo>
                    <a:pt x="1512168" y="1512168"/>
                  </a:lnTo>
                  <a:close/>
                </a:path>
              </a:pathLst>
            </a:custGeom>
            <a:solidFill>
              <a:srgbClr val="FFFFFF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56CB23BD-376E-494C-B9BD-49C693E7B475}"/>
                </a:ext>
              </a:extLst>
            </p:cNvPr>
            <p:cNvSpPr/>
            <p:nvPr/>
          </p:nvSpPr>
          <p:spPr bwMode="gray">
            <a:xfrm>
              <a:off x="9167664" y="2060848"/>
              <a:ext cx="1512168" cy="756084"/>
            </a:xfrm>
            <a:custGeom>
              <a:avLst/>
              <a:gdLst>
                <a:gd name="connsiteX0" fmla="*/ 1134126 w 1512168"/>
                <a:gd name="connsiteY0" fmla="*/ 0 h 756084"/>
                <a:gd name="connsiteX1" fmla="*/ 1134126 w 1512168"/>
                <a:gd name="connsiteY1" fmla="*/ 0 h 756084"/>
                <a:gd name="connsiteX2" fmla="*/ 378042 w 1512168"/>
                <a:gd name="connsiteY2" fmla="*/ 0 h 756084"/>
                <a:gd name="connsiteX3" fmla="*/ 0 w 1512168"/>
                <a:gd name="connsiteY3" fmla="*/ 378042 h 756084"/>
                <a:gd name="connsiteX4" fmla="*/ 378042 w 1512168"/>
                <a:gd name="connsiteY4" fmla="*/ 756084 h 756084"/>
                <a:gd name="connsiteX5" fmla="*/ 756084 w 1512168"/>
                <a:gd name="connsiteY5" fmla="*/ 756084 h 756084"/>
                <a:gd name="connsiteX6" fmla="*/ 756084 w 1512168"/>
                <a:gd name="connsiteY6" fmla="*/ 756084 h 756084"/>
                <a:gd name="connsiteX7" fmla="*/ 1512168 w 1512168"/>
                <a:gd name="connsiteY7" fmla="*/ 756084 h 756084"/>
                <a:gd name="connsiteX8" fmla="*/ 1512168 w 1512168"/>
                <a:gd name="connsiteY8" fmla="*/ 0 h 756084"/>
                <a:gd name="connsiteX9" fmla="*/ 1134126 w 1512168"/>
                <a:gd name="connsiteY9" fmla="*/ 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2168" h="756084">
                  <a:moveTo>
                    <a:pt x="1134126" y="0"/>
                  </a:moveTo>
                  <a:lnTo>
                    <a:pt x="1134126" y="0"/>
                  </a:lnTo>
                  <a:lnTo>
                    <a:pt x="378042" y="0"/>
                  </a:lnTo>
                  <a:cubicBezTo>
                    <a:pt x="169287" y="0"/>
                    <a:pt x="0" y="169287"/>
                    <a:pt x="0" y="378042"/>
                  </a:cubicBezTo>
                  <a:cubicBezTo>
                    <a:pt x="0" y="586797"/>
                    <a:pt x="169287" y="756084"/>
                    <a:pt x="378042" y="756084"/>
                  </a:cubicBezTo>
                  <a:lnTo>
                    <a:pt x="756084" y="756084"/>
                  </a:lnTo>
                  <a:lnTo>
                    <a:pt x="756084" y="756084"/>
                  </a:lnTo>
                  <a:lnTo>
                    <a:pt x="1512168" y="756084"/>
                  </a:lnTo>
                  <a:lnTo>
                    <a:pt x="1512168" y="0"/>
                  </a:lnTo>
                  <a:lnTo>
                    <a:pt x="1134126" y="0"/>
                  </a:lnTo>
                  <a:close/>
                </a:path>
              </a:pathLst>
            </a:custGeom>
            <a:solidFill>
              <a:srgbClr val="201751"/>
            </a:solidFill>
            <a:ln w="754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3169E7-0F2E-4C33-A691-6D5C2B1A4DAE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95320B9D-1E55-417F-BC4E-8B3EF6B241F7}" type="datetime1">
              <a:rPr lang="en-US"/>
              <a:t>8/31/2022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68C6C73-E854-4564-8150-B96B40A31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D5F40E2-AF5A-4A90-B7B3-65E87D743B3C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0068D8CA-B0B6-4A35-A68B-45F97B8A067F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12D23369-8D2E-47A0-AA65-87C8D9174CA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94202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er | Light Grey">
    <p:bg bwMode="auto"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8253AAC-0B56-48A4-8617-D2B23B9BFC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18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1E2CAEB-5D4E-47C0-9BF0-585D66D109D8}"/>
              </a:ext>
            </a:extLst>
          </p:cNvPr>
          <p:cNvGrpSpPr/>
          <p:nvPr/>
        </p:nvGrpSpPr>
        <p:grpSpPr bwMode="gray">
          <a:xfrm>
            <a:off x="10476600" y="2060848"/>
            <a:ext cx="1715400" cy="3430800"/>
            <a:chOff x="10476600" y="2060848"/>
            <a:chExt cx="1715400" cy="3430800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36AA7D8-79F9-48F8-8D50-76B559AE5B2B}"/>
                </a:ext>
              </a:extLst>
            </p:cNvPr>
            <p:cNvSpPr/>
            <p:nvPr/>
          </p:nvSpPr>
          <p:spPr bwMode="gray">
            <a:xfrm>
              <a:off x="10476600" y="3776248"/>
              <a:ext cx="857700" cy="857700"/>
            </a:xfrm>
            <a:custGeom>
              <a:avLst/>
              <a:gdLst>
                <a:gd name="connsiteX0" fmla="*/ 0 w 857700"/>
                <a:gd name="connsiteY0" fmla="*/ 0 h 857700"/>
                <a:gd name="connsiteX1" fmla="*/ 857700 w 857700"/>
                <a:gd name="connsiteY1" fmla="*/ 0 h 857700"/>
                <a:gd name="connsiteX2" fmla="*/ 857700 w 857700"/>
                <a:gd name="connsiteY2" fmla="*/ 857700 h 857700"/>
                <a:gd name="connsiteX3" fmla="*/ 0 w 857700"/>
                <a:gd name="connsiteY3" fmla="*/ 857700 h 85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700" h="857700">
                  <a:moveTo>
                    <a:pt x="0" y="0"/>
                  </a:moveTo>
                  <a:lnTo>
                    <a:pt x="857700" y="0"/>
                  </a:lnTo>
                  <a:lnTo>
                    <a:pt x="857700" y="857700"/>
                  </a:lnTo>
                  <a:lnTo>
                    <a:pt x="0" y="85770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6C21FC3-1FD1-447D-8444-AD56837E0D3B}"/>
                </a:ext>
              </a:extLst>
            </p:cNvPr>
            <p:cNvSpPr/>
            <p:nvPr/>
          </p:nvSpPr>
          <p:spPr bwMode="gray">
            <a:xfrm>
              <a:off x="11334300" y="4633948"/>
              <a:ext cx="857700" cy="857700"/>
            </a:xfrm>
            <a:custGeom>
              <a:avLst/>
              <a:gdLst>
                <a:gd name="connsiteX0" fmla="*/ 0 w 857700"/>
                <a:gd name="connsiteY0" fmla="*/ 0 h 857700"/>
                <a:gd name="connsiteX1" fmla="*/ 857700 w 857700"/>
                <a:gd name="connsiteY1" fmla="*/ 0 h 857700"/>
                <a:gd name="connsiteX2" fmla="*/ 857700 w 857700"/>
                <a:gd name="connsiteY2" fmla="*/ 857700 h 857700"/>
                <a:gd name="connsiteX3" fmla="*/ 0 w 857700"/>
                <a:gd name="connsiteY3" fmla="*/ 857700 h 85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700" h="857700">
                  <a:moveTo>
                    <a:pt x="0" y="0"/>
                  </a:moveTo>
                  <a:lnTo>
                    <a:pt x="857700" y="0"/>
                  </a:lnTo>
                  <a:lnTo>
                    <a:pt x="857700" y="857700"/>
                  </a:lnTo>
                  <a:lnTo>
                    <a:pt x="0" y="857700"/>
                  </a:lnTo>
                  <a:close/>
                </a:path>
              </a:pathLst>
            </a:custGeom>
            <a:solidFill>
              <a:srgbClr val="00CE7D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3FA56F5-25C4-42FE-8D43-E3DC69FCAA4F}"/>
                </a:ext>
              </a:extLst>
            </p:cNvPr>
            <p:cNvSpPr/>
            <p:nvPr/>
          </p:nvSpPr>
          <p:spPr bwMode="gray">
            <a:xfrm>
              <a:off x="10476600" y="2060848"/>
              <a:ext cx="1715400" cy="1715400"/>
            </a:xfrm>
            <a:custGeom>
              <a:avLst/>
              <a:gdLst>
                <a:gd name="connsiteX0" fmla="*/ 857700 w 1715400"/>
                <a:gd name="connsiteY0" fmla="*/ 857700 h 1715400"/>
                <a:gd name="connsiteX1" fmla="*/ 1715400 w 1715400"/>
                <a:gd name="connsiteY1" fmla="*/ 1715400 h 1715400"/>
                <a:gd name="connsiteX2" fmla="*/ 857700 w 1715400"/>
                <a:gd name="connsiteY2" fmla="*/ 1715400 h 1715400"/>
                <a:gd name="connsiteX3" fmla="*/ 0 w 1715400"/>
                <a:gd name="connsiteY3" fmla="*/ 857700 h 1715400"/>
                <a:gd name="connsiteX4" fmla="*/ 0 w 1715400"/>
                <a:gd name="connsiteY4" fmla="*/ 0 h 17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5400" h="1715400">
                  <a:moveTo>
                    <a:pt x="857700" y="857700"/>
                  </a:moveTo>
                  <a:lnTo>
                    <a:pt x="1715400" y="1715400"/>
                  </a:lnTo>
                  <a:lnTo>
                    <a:pt x="857700" y="1715400"/>
                  </a:lnTo>
                  <a:lnTo>
                    <a:pt x="0" y="857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751"/>
            </a:solidFill>
            <a:ln w="85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19CB23-D378-4548-9D52-5D434F268FA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53DA309C-AD0B-407F-B255-344960535C8A}" type="datetime1">
              <a:rPr lang="en-US"/>
              <a:t>8/31/2022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6F70DAE-5C8B-4EE1-910D-AE01F863E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D2DBEFD-AC8D-4F5B-BBCC-D9E5C46AAA1F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26801EDD-AFCB-49F8-8124-9413C500C994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48B2D73B-F1A3-4A7A-902F-E27CC6C50EA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14077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lean | Blue">
    <p:bg bwMode="auto"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5DE2E4-8A5C-4DF1-A6D6-F7F3DFE43A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9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4EF5AA7-A7AA-4571-AB53-31BB9B697D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1200" y="6376858"/>
            <a:ext cx="576063" cy="12603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1C7DEA-28CE-412D-8B12-D1E97D2E8094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8D4C190C-7A36-4929-9CD3-C74764D6536C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422B42-5B9A-4469-9CF2-A0FF52614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B0AC44E-61DF-4F4C-A6AE-916D7EFDFB63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9492405-FF9C-4E0B-BBD3-194EC0E4AEBF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3CF959FA-2C28-4210-85B5-10073516EBD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27222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clean | Green">
    <p:bg bwMode="auto">
      <p:bgPr>
        <a:solidFill>
          <a:srgbClr val="00C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B63E18-54A2-4CB1-A92C-60481ABDC1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90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4738C0-2432-4731-9591-76C52F565581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AEE3FB5D-35C1-4860-AD80-F228862F7B76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26A39-7D18-4E76-9378-6BD419286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E38367D-8E0C-45C2-B2A7-334AAC5B52E6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691BC3C-F5EE-4767-A7EE-18C323150DAD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70AFF25C-94FA-4467-99F6-E736DB11628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61030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clean | Whit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4E936EE-EAF0-40DE-80FC-5532D1A45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8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569887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756496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76BF7B-94F9-4284-8960-1B3CF28A121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66694C4-3770-434F-A0C4-DFE5D752835A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D2B69-DA6B-4F90-8CDA-828B06517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48C2A02-5F57-41DA-A648-FB068FDC4F38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06CDB9D9-DC3B-4A29-AB10-A32B7B7137DF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11B742BC-BF40-439B-9237-5CE7FADBB71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164411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6B2F287-1CF5-4994-943B-AE24BADF5F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97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42B68CD6-5E65-4A3A-864B-64E0F0FC5606}"/>
              </a:ext>
            </a:extLst>
          </p:cNvPr>
          <p:cNvSpPr/>
          <p:nvPr/>
        </p:nvSpPr>
        <p:spPr bwMode="gray">
          <a:xfrm>
            <a:off x="2" y="0"/>
            <a:ext cx="12191998" cy="6858000"/>
          </a:xfrm>
          <a:prstGeom prst="rect">
            <a:avLst/>
          </a:prstGeom>
          <a:solidFill>
            <a:schemeClr val="bg1"/>
          </a:solidFill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 rtl="0"/>
            <a:endParaRPr lang="en-US" sz="1400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8EFDC1D-57D1-44D7-934F-2B322D8A83D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1993" cy="6857997"/>
          </a:xfrm>
          <a:custGeom>
            <a:avLst/>
            <a:gdLst>
              <a:gd name="connsiteX0" fmla="*/ 871218 w 12191993"/>
              <a:gd name="connsiteY0" fmla="*/ 6401826 h 6857997"/>
              <a:gd name="connsiteX1" fmla="*/ 889814 w 12191993"/>
              <a:gd name="connsiteY1" fmla="*/ 6401826 h 6857997"/>
              <a:gd name="connsiteX2" fmla="*/ 911004 w 12191993"/>
              <a:gd name="connsiteY2" fmla="*/ 6419388 h 6857997"/>
              <a:gd name="connsiteX3" fmla="*/ 890349 w 12191993"/>
              <a:gd name="connsiteY3" fmla="*/ 6436783 h 6857997"/>
              <a:gd name="connsiteX4" fmla="*/ 871218 w 12191993"/>
              <a:gd name="connsiteY4" fmla="*/ 6436783 h 6857997"/>
              <a:gd name="connsiteX5" fmla="*/ 975760 w 12191993"/>
              <a:gd name="connsiteY5" fmla="*/ 6377645 h 6857997"/>
              <a:gd name="connsiteX6" fmla="*/ 962289 w 12191993"/>
              <a:gd name="connsiteY6" fmla="*/ 6391032 h 6857997"/>
              <a:gd name="connsiteX7" fmla="*/ 962289 w 12191993"/>
              <a:gd name="connsiteY7" fmla="*/ 6486023 h 6857997"/>
              <a:gd name="connsiteX8" fmla="*/ 975760 w 12191993"/>
              <a:gd name="connsiteY8" fmla="*/ 6499422 h 6857997"/>
              <a:gd name="connsiteX9" fmla="*/ 1044552 w 12191993"/>
              <a:gd name="connsiteY9" fmla="*/ 6499422 h 6857997"/>
              <a:gd name="connsiteX10" fmla="*/ 1056631 w 12191993"/>
              <a:gd name="connsiteY10" fmla="*/ 6487591 h 6857997"/>
              <a:gd name="connsiteX11" fmla="*/ 1044552 w 12191993"/>
              <a:gd name="connsiteY11" fmla="*/ 6475597 h 6857997"/>
              <a:gd name="connsiteX12" fmla="*/ 989061 w 12191993"/>
              <a:gd name="connsiteY12" fmla="*/ 6475597 h 6857997"/>
              <a:gd name="connsiteX13" fmla="*/ 989061 w 12191993"/>
              <a:gd name="connsiteY13" fmla="*/ 6450011 h 6857997"/>
              <a:gd name="connsiteX14" fmla="*/ 1035792 w 12191993"/>
              <a:gd name="connsiteY14" fmla="*/ 6450011 h 6857997"/>
              <a:gd name="connsiteX15" fmla="*/ 1047871 w 12191993"/>
              <a:gd name="connsiteY15" fmla="*/ 6438180 h 6857997"/>
              <a:gd name="connsiteX16" fmla="*/ 1035792 w 12191993"/>
              <a:gd name="connsiteY16" fmla="*/ 6426174 h 6857997"/>
              <a:gd name="connsiteX17" fmla="*/ 989061 w 12191993"/>
              <a:gd name="connsiteY17" fmla="*/ 6426174 h 6857997"/>
              <a:gd name="connsiteX18" fmla="*/ 989061 w 12191993"/>
              <a:gd name="connsiteY18" fmla="*/ 6401483 h 6857997"/>
              <a:gd name="connsiteX19" fmla="*/ 1043677 w 12191993"/>
              <a:gd name="connsiteY19" fmla="*/ 6401483 h 6857997"/>
              <a:gd name="connsiteX20" fmla="*/ 1055752 w 12191993"/>
              <a:gd name="connsiteY20" fmla="*/ 6389642 h 6857997"/>
              <a:gd name="connsiteX21" fmla="*/ 1043677 w 12191993"/>
              <a:gd name="connsiteY21" fmla="*/ 6377645 h 6857997"/>
              <a:gd name="connsiteX22" fmla="*/ 857741 w 12191993"/>
              <a:gd name="connsiteY22" fmla="*/ 6377645 h 6857997"/>
              <a:gd name="connsiteX23" fmla="*/ 844260 w 12191993"/>
              <a:gd name="connsiteY23" fmla="*/ 6391032 h 6857997"/>
              <a:gd name="connsiteX24" fmla="*/ 844260 w 12191993"/>
              <a:gd name="connsiteY24" fmla="*/ 6487068 h 6857997"/>
              <a:gd name="connsiteX25" fmla="*/ 857741 w 12191993"/>
              <a:gd name="connsiteY25" fmla="*/ 6500453 h 6857997"/>
              <a:gd name="connsiteX26" fmla="*/ 871218 w 12191993"/>
              <a:gd name="connsiteY26" fmla="*/ 6487068 h 6857997"/>
              <a:gd name="connsiteX27" fmla="*/ 871218 w 12191993"/>
              <a:gd name="connsiteY27" fmla="*/ 6460454 h 6857997"/>
              <a:gd name="connsiteX28" fmla="*/ 888658 w 12191993"/>
              <a:gd name="connsiteY28" fmla="*/ 6460454 h 6857997"/>
              <a:gd name="connsiteX29" fmla="*/ 916283 w 12191993"/>
              <a:gd name="connsiteY29" fmla="*/ 6493518 h 6857997"/>
              <a:gd name="connsiteX30" fmla="*/ 929577 w 12191993"/>
              <a:gd name="connsiteY30" fmla="*/ 6500453 h 6857997"/>
              <a:gd name="connsiteX31" fmla="*/ 942357 w 12191993"/>
              <a:gd name="connsiteY31" fmla="*/ 6488115 h 6857997"/>
              <a:gd name="connsiteX32" fmla="*/ 937985 w 12191993"/>
              <a:gd name="connsiteY32" fmla="*/ 6477858 h 6857997"/>
              <a:gd name="connsiteX33" fmla="*/ 917888 w 12191993"/>
              <a:gd name="connsiteY33" fmla="*/ 6455227 h 6857997"/>
              <a:gd name="connsiteX34" fmla="*/ 939671 w 12191993"/>
              <a:gd name="connsiteY34" fmla="*/ 6417708 h 6857997"/>
              <a:gd name="connsiteX35" fmla="*/ 927809 w 12191993"/>
              <a:gd name="connsiteY35" fmla="*/ 6389982 h 6857997"/>
              <a:gd name="connsiteX36" fmla="*/ 892095 w 12191993"/>
              <a:gd name="connsiteY36" fmla="*/ 6377645 h 6857997"/>
              <a:gd name="connsiteX37" fmla="*/ 614675 w 12191993"/>
              <a:gd name="connsiteY37" fmla="*/ 6377645 h 6857997"/>
              <a:gd name="connsiteX38" fmla="*/ 601199 w 12191993"/>
              <a:gd name="connsiteY38" fmla="*/ 6391032 h 6857997"/>
              <a:gd name="connsiteX39" fmla="*/ 601199 w 12191993"/>
              <a:gd name="connsiteY39" fmla="*/ 6486023 h 6857997"/>
              <a:gd name="connsiteX40" fmla="*/ 614675 w 12191993"/>
              <a:gd name="connsiteY40" fmla="*/ 6499422 h 6857997"/>
              <a:gd name="connsiteX41" fmla="*/ 683465 w 12191993"/>
              <a:gd name="connsiteY41" fmla="*/ 6499422 h 6857997"/>
              <a:gd name="connsiteX42" fmla="*/ 695551 w 12191993"/>
              <a:gd name="connsiteY42" fmla="*/ 6487591 h 6857997"/>
              <a:gd name="connsiteX43" fmla="*/ 683465 w 12191993"/>
              <a:gd name="connsiteY43" fmla="*/ 6475597 h 6857997"/>
              <a:gd name="connsiteX44" fmla="*/ 627985 w 12191993"/>
              <a:gd name="connsiteY44" fmla="*/ 6475597 h 6857997"/>
              <a:gd name="connsiteX45" fmla="*/ 627985 w 12191993"/>
              <a:gd name="connsiteY45" fmla="*/ 6450011 h 6857997"/>
              <a:gd name="connsiteX46" fmla="*/ 674718 w 12191993"/>
              <a:gd name="connsiteY46" fmla="*/ 6450011 h 6857997"/>
              <a:gd name="connsiteX47" fmla="*/ 686799 w 12191993"/>
              <a:gd name="connsiteY47" fmla="*/ 6438180 h 6857997"/>
              <a:gd name="connsiteX48" fmla="*/ 674718 w 12191993"/>
              <a:gd name="connsiteY48" fmla="*/ 6426174 h 6857997"/>
              <a:gd name="connsiteX49" fmla="*/ 627985 w 12191993"/>
              <a:gd name="connsiteY49" fmla="*/ 6426174 h 6857997"/>
              <a:gd name="connsiteX50" fmla="*/ 627985 w 12191993"/>
              <a:gd name="connsiteY50" fmla="*/ 6401483 h 6857997"/>
              <a:gd name="connsiteX51" fmla="*/ 682594 w 12191993"/>
              <a:gd name="connsiteY51" fmla="*/ 6401483 h 6857997"/>
              <a:gd name="connsiteX52" fmla="*/ 694674 w 12191993"/>
              <a:gd name="connsiteY52" fmla="*/ 6389642 h 6857997"/>
              <a:gd name="connsiteX53" fmla="*/ 682594 w 12191993"/>
              <a:gd name="connsiteY53" fmla="*/ 6377645 h 6857997"/>
              <a:gd name="connsiteX54" fmla="*/ 1084032 w 12191993"/>
              <a:gd name="connsiteY54" fmla="*/ 6376596 h 6857997"/>
              <a:gd name="connsiteX55" fmla="*/ 1070728 w 12191993"/>
              <a:gd name="connsiteY55" fmla="*/ 6389815 h 6857997"/>
              <a:gd name="connsiteX56" fmla="*/ 1074752 w 12191993"/>
              <a:gd name="connsiteY56" fmla="*/ 6399743 h 6857997"/>
              <a:gd name="connsiteX57" fmla="*/ 1105916 w 12191993"/>
              <a:gd name="connsiteY57" fmla="*/ 6437490 h 6857997"/>
              <a:gd name="connsiteX58" fmla="*/ 1072832 w 12191993"/>
              <a:gd name="connsiteY58" fmla="*/ 6477859 h 6857997"/>
              <a:gd name="connsiteX59" fmla="*/ 1068804 w 12191993"/>
              <a:gd name="connsiteY59" fmla="*/ 6488116 h 6857997"/>
              <a:gd name="connsiteX60" fmla="*/ 1081058 w 12191993"/>
              <a:gd name="connsiteY60" fmla="*/ 6500453 h 6857997"/>
              <a:gd name="connsiteX61" fmla="*/ 1094178 w 12191993"/>
              <a:gd name="connsiteY61" fmla="*/ 6493158 h 6857997"/>
              <a:gd name="connsiteX62" fmla="*/ 1122547 w 12191993"/>
              <a:gd name="connsiteY62" fmla="*/ 6456446 h 6857997"/>
              <a:gd name="connsiteX63" fmla="*/ 1151245 w 12191993"/>
              <a:gd name="connsiteY63" fmla="*/ 6493840 h 6857997"/>
              <a:gd name="connsiteX64" fmla="*/ 1163682 w 12191993"/>
              <a:gd name="connsiteY64" fmla="*/ 6500453 h 6857997"/>
              <a:gd name="connsiteX65" fmla="*/ 1176985 w 12191993"/>
              <a:gd name="connsiteY65" fmla="*/ 6487245 h 6857997"/>
              <a:gd name="connsiteX66" fmla="*/ 1172953 w 12191993"/>
              <a:gd name="connsiteY66" fmla="*/ 6477326 h 6857997"/>
              <a:gd name="connsiteX67" fmla="*/ 1140045 w 12191993"/>
              <a:gd name="connsiteY67" fmla="*/ 6437142 h 6857997"/>
              <a:gd name="connsiteX68" fmla="*/ 1171204 w 12191993"/>
              <a:gd name="connsiteY68" fmla="*/ 6399218 h 6857997"/>
              <a:gd name="connsiteX69" fmla="*/ 1175232 w 12191993"/>
              <a:gd name="connsiteY69" fmla="*/ 6388948 h 6857997"/>
              <a:gd name="connsiteX70" fmla="*/ 1162974 w 12191993"/>
              <a:gd name="connsiteY70" fmla="*/ 6376596 h 6857997"/>
              <a:gd name="connsiteX71" fmla="*/ 1149854 w 12191993"/>
              <a:gd name="connsiteY71" fmla="*/ 6383906 h 6857997"/>
              <a:gd name="connsiteX72" fmla="*/ 1123242 w 12191993"/>
              <a:gd name="connsiteY72" fmla="*/ 6418698 h 6857997"/>
              <a:gd name="connsiteX73" fmla="*/ 1096461 w 12191993"/>
              <a:gd name="connsiteY73" fmla="*/ 6383214 h 6857997"/>
              <a:gd name="connsiteX74" fmla="*/ 1084032 w 12191993"/>
              <a:gd name="connsiteY74" fmla="*/ 6376596 h 6857997"/>
              <a:gd name="connsiteX75" fmla="*/ 726895 w 12191993"/>
              <a:gd name="connsiteY75" fmla="*/ 6376596 h 6857997"/>
              <a:gd name="connsiteX76" fmla="*/ 713418 w 12191993"/>
              <a:gd name="connsiteY76" fmla="*/ 6389983 h 6857997"/>
              <a:gd name="connsiteX77" fmla="*/ 713418 w 12191993"/>
              <a:gd name="connsiteY77" fmla="*/ 6447235 h 6857997"/>
              <a:gd name="connsiteX78" fmla="*/ 766460 w 12191993"/>
              <a:gd name="connsiteY78" fmla="*/ 6501335 h 6857997"/>
              <a:gd name="connsiteX79" fmla="*/ 820190 w 12191993"/>
              <a:gd name="connsiteY79" fmla="*/ 6446364 h 6857997"/>
              <a:gd name="connsiteX80" fmla="*/ 820190 w 12191993"/>
              <a:gd name="connsiteY80" fmla="*/ 6389983 h 6857997"/>
              <a:gd name="connsiteX81" fmla="*/ 806715 w 12191993"/>
              <a:gd name="connsiteY81" fmla="*/ 6376596 h 6857997"/>
              <a:gd name="connsiteX82" fmla="*/ 793233 w 12191993"/>
              <a:gd name="connsiteY82" fmla="*/ 6389983 h 6857997"/>
              <a:gd name="connsiteX83" fmla="*/ 793233 w 12191993"/>
              <a:gd name="connsiteY83" fmla="*/ 6447403 h 6857997"/>
              <a:gd name="connsiteX84" fmla="*/ 766806 w 12191993"/>
              <a:gd name="connsiteY84" fmla="*/ 6476628 h 6857997"/>
              <a:gd name="connsiteX85" fmla="*/ 740371 w 12191993"/>
              <a:gd name="connsiteY85" fmla="*/ 6446530 h 6857997"/>
              <a:gd name="connsiteX86" fmla="*/ 740371 w 12191993"/>
              <a:gd name="connsiteY86" fmla="*/ 6389983 h 6857997"/>
              <a:gd name="connsiteX87" fmla="*/ 726895 w 12191993"/>
              <a:gd name="connsiteY87" fmla="*/ 6376596 h 6857997"/>
              <a:gd name="connsiteX88" fmla="*/ 10804524 w 12191993"/>
              <a:gd name="connsiteY88" fmla="*/ 1 h 6857997"/>
              <a:gd name="connsiteX89" fmla="*/ 10804524 w 12191993"/>
              <a:gd name="connsiteY89" fmla="*/ 730423 h 6857997"/>
              <a:gd name="connsiteX90" fmla="*/ 11209337 w 12191993"/>
              <a:gd name="connsiteY90" fmla="*/ 1135064 h 6857997"/>
              <a:gd name="connsiteX91" fmla="*/ 11614149 w 12191993"/>
              <a:gd name="connsiteY91" fmla="*/ 730423 h 6857997"/>
              <a:gd name="connsiteX92" fmla="*/ 11614149 w 12191993"/>
              <a:gd name="connsiteY92" fmla="*/ 1 h 6857997"/>
              <a:gd name="connsiteX93" fmla="*/ 10452098 w 12191993"/>
              <a:gd name="connsiteY93" fmla="*/ 0 h 6857997"/>
              <a:gd name="connsiteX94" fmla="*/ 11999911 w 12191993"/>
              <a:gd name="connsiteY94" fmla="*/ 0 h 6857997"/>
              <a:gd name="connsiteX95" fmla="*/ 11999911 w 12191993"/>
              <a:gd name="connsiteY95" fmla="*/ 1 h 6857997"/>
              <a:gd name="connsiteX96" fmla="*/ 12191993 w 12191993"/>
              <a:gd name="connsiteY96" fmla="*/ 1 h 6857997"/>
              <a:gd name="connsiteX97" fmla="*/ 12191993 w 12191993"/>
              <a:gd name="connsiteY97" fmla="*/ 6857997 h 6857997"/>
              <a:gd name="connsiteX98" fmla="*/ 0 w 12191993"/>
              <a:gd name="connsiteY98" fmla="*/ 6857997 h 6857997"/>
              <a:gd name="connsiteX99" fmla="*/ 0 w 12191993"/>
              <a:gd name="connsiteY99" fmla="*/ 1 h 6857997"/>
              <a:gd name="connsiteX100" fmla="*/ 10452098 w 12191993"/>
              <a:gd name="connsiteY100" fmla="*/ 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12191993" h="6857997">
                <a:moveTo>
                  <a:pt x="871218" y="6401826"/>
                </a:moveTo>
                <a:lnTo>
                  <a:pt x="889814" y="6401826"/>
                </a:lnTo>
                <a:cubicBezTo>
                  <a:pt x="902950" y="6401826"/>
                  <a:pt x="911004" y="6407683"/>
                  <a:pt x="911004" y="6419388"/>
                </a:cubicBezTo>
                <a:cubicBezTo>
                  <a:pt x="911004" y="6429860"/>
                  <a:pt x="903474" y="6436783"/>
                  <a:pt x="890349" y="6436783"/>
                </a:cubicBezTo>
                <a:lnTo>
                  <a:pt x="871218" y="6436783"/>
                </a:lnTo>
                <a:close/>
                <a:moveTo>
                  <a:pt x="975760" y="6377645"/>
                </a:moveTo>
                <a:cubicBezTo>
                  <a:pt x="968236" y="6377645"/>
                  <a:pt x="962289" y="6383553"/>
                  <a:pt x="962289" y="6391032"/>
                </a:cubicBezTo>
                <a:lnTo>
                  <a:pt x="962289" y="6486023"/>
                </a:lnTo>
                <a:cubicBezTo>
                  <a:pt x="962289" y="6493518"/>
                  <a:pt x="968236" y="6499422"/>
                  <a:pt x="975760" y="6499422"/>
                </a:cubicBezTo>
                <a:lnTo>
                  <a:pt x="1044552" y="6499422"/>
                </a:lnTo>
                <a:cubicBezTo>
                  <a:pt x="1051203" y="6499422"/>
                  <a:pt x="1056631" y="6494204"/>
                  <a:pt x="1056631" y="6487591"/>
                </a:cubicBezTo>
                <a:cubicBezTo>
                  <a:pt x="1056631" y="6480981"/>
                  <a:pt x="1051203" y="6475597"/>
                  <a:pt x="1044552" y="6475597"/>
                </a:cubicBezTo>
                <a:lnTo>
                  <a:pt x="989061" y="6475597"/>
                </a:lnTo>
                <a:lnTo>
                  <a:pt x="989061" y="6450011"/>
                </a:lnTo>
                <a:lnTo>
                  <a:pt x="1035792" y="6450011"/>
                </a:lnTo>
                <a:cubicBezTo>
                  <a:pt x="1042448" y="6450011"/>
                  <a:pt x="1047871" y="6444798"/>
                  <a:pt x="1047871" y="6438180"/>
                </a:cubicBezTo>
                <a:cubicBezTo>
                  <a:pt x="1047871" y="6431570"/>
                  <a:pt x="1042448" y="6426174"/>
                  <a:pt x="1035792" y="6426174"/>
                </a:cubicBezTo>
                <a:lnTo>
                  <a:pt x="989061" y="6426174"/>
                </a:lnTo>
                <a:lnTo>
                  <a:pt x="989061" y="6401483"/>
                </a:lnTo>
                <a:lnTo>
                  <a:pt x="1043677" y="6401483"/>
                </a:lnTo>
                <a:cubicBezTo>
                  <a:pt x="1050329" y="6401483"/>
                  <a:pt x="1055752" y="6396256"/>
                  <a:pt x="1055752" y="6389642"/>
                </a:cubicBezTo>
                <a:cubicBezTo>
                  <a:pt x="1055752" y="6383042"/>
                  <a:pt x="1050329" y="6377645"/>
                  <a:pt x="1043677" y="6377645"/>
                </a:cubicBezTo>
                <a:close/>
                <a:moveTo>
                  <a:pt x="857741" y="6377645"/>
                </a:moveTo>
                <a:cubicBezTo>
                  <a:pt x="850208" y="6377645"/>
                  <a:pt x="844260" y="6383553"/>
                  <a:pt x="844260" y="6391032"/>
                </a:cubicBezTo>
                <a:lnTo>
                  <a:pt x="844260" y="6487068"/>
                </a:lnTo>
                <a:cubicBezTo>
                  <a:pt x="844260" y="6494548"/>
                  <a:pt x="850208" y="6500453"/>
                  <a:pt x="857741" y="6500453"/>
                </a:cubicBezTo>
                <a:cubicBezTo>
                  <a:pt x="865270" y="6500453"/>
                  <a:pt x="871218" y="6494549"/>
                  <a:pt x="871218" y="6487068"/>
                </a:cubicBezTo>
                <a:lnTo>
                  <a:pt x="871218" y="6460454"/>
                </a:lnTo>
                <a:lnTo>
                  <a:pt x="888658" y="6460454"/>
                </a:lnTo>
                <a:lnTo>
                  <a:pt x="916283" y="6493518"/>
                </a:lnTo>
                <a:cubicBezTo>
                  <a:pt x="919431" y="6497514"/>
                  <a:pt x="923454" y="6500453"/>
                  <a:pt x="929577" y="6500453"/>
                </a:cubicBezTo>
                <a:cubicBezTo>
                  <a:pt x="936063" y="6500453"/>
                  <a:pt x="942357" y="6495598"/>
                  <a:pt x="942357" y="6488115"/>
                </a:cubicBezTo>
                <a:cubicBezTo>
                  <a:pt x="942358" y="6483938"/>
                  <a:pt x="940611" y="6481161"/>
                  <a:pt x="937985" y="6477858"/>
                </a:cubicBezTo>
                <a:lnTo>
                  <a:pt x="917888" y="6455227"/>
                </a:lnTo>
                <a:cubicBezTo>
                  <a:pt x="934131" y="6447867"/>
                  <a:pt x="939670" y="6432030"/>
                  <a:pt x="939671" y="6417708"/>
                </a:cubicBezTo>
                <a:cubicBezTo>
                  <a:pt x="939671" y="6406380"/>
                  <a:pt x="934628" y="6396781"/>
                  <a:pt x="927809" y="6389982"/>
                </a:cubicBezTo>
                <a:cubicBezTo>
                  <a:pt x="919750" y="6381999"/>
                  <a:pt x="907673" y="6377645"/>
                  <a:pt x="892095" y="6377645"/>
                </a:cubicBezTo>
                <a:close/>
                <a:moveTo>
                  <a:pt x="614675" y="6377645"/>
                </a:moveTo>
                <a:cubicBezTo>
                  <a:pt x="607146" y="6377645"/>
                  <a:pt x="601199" y="6383553"/>
                  <a:pt x="601199" y="6391032"/>
                </a:cubicBezTo>
                <a:lnTo>
                  <a:pt x="601199" y="6486023"/>
                </a:lnTo>
                <a:cubicBezTo>
                  <a:pt x="601199" y="6493518"/>
                  <a:pt x="607146" y="6499422"/>
                  <a:pt x="614675" y="6499422"/>
                </a:cubicBezTo>
                <a:lnTo>
                  <a:pt x="683465" y="6499422"/>
                </a:lnTo>
                <a:cubicBezTo>
                  <a:pt x="690116" y="6499422"/>
                  <a:pt x="695551" y="6494204"/>
                  <a:pt x="695551" y="6487591"/>
                </a:cubicBezTo>
                <a:cubicBezTo>
                  <a:pt x="695551" y="6480981"/>
                  <a:pt x="690116" y="6475597"/>
                  <a:pt x="683465" y="6475597"/>
                </a:cubicBezTo>
                <a:lnTo>
                  <a:pt x="627985" y="6475597"/>
                </a:lnTo>
                <a:lnTo>
                  <a:pt x="627985" y="6450011"/>
                </a:lnTo>
                <a:lnTo>
                  <a:pt x="674718" y="6450011"/>
                </a:lnTo>
                <a:cubicBezTo>
                  <a:pt x="681364" y="6450011"/>
                  <a:pt x="686799" y="6444798"/>
                  <a:pt x="686799" y="6438180"/>
                </a:cubicBezTo>
                <a:cubicBezTo>
                  <a:pt x="686799" y="6431570"/>
                  <a:pt x="681364" y="6426174"/>
                  <a:pt x="674718" y="6426174"/>
                </a:cubicBezTo>
                <a:lnTo>
                  <a:pt x="627985" y="6426174"/>
                </a:lnTo>
                <a:lnTo>
                  <a:pt x="627985" y="6401483"/>
                </a:lnTo>
                <a:lnTo>
                  <a:pt x="682594" y="6401483"/>
                </a:lnTo>
                <a:cubicBezTo>
                  <a:pt x="689241" y="6401483"/>
                  <a:pt x="694674" y="6396256"/>
                  <a:pt x="694674" y="6389642"/>
                </a:cubicBezTo>
                <a:cubicBezTo>
                  <a:pt x="694674" y="6383042"/>
                  <a:pt x="689241" y="6377645"/>
                  <a:pt x="682594" y="6377645"/>
                </a:cubicBezTo>
                <a:close/>
                <a:moveTo>
                  <a:pt x="1084032" y="6376596"/>
                </a:moveTo>
                <a:cubicBezTo>
                  <a:pt x="1076330" y="6376596"/>
                  <a:pt x="1070728" y="6382334"/>
                  <a:pt x="1070728" y="6389815"/>
                </a:cubicBezTo>
                <a:cubicBezTo>
                  <a:pt x="1070728" y="6393639"/>
                  <a:pt x="1072648" y="6397126"/>
                  <a:pt x="1074752" y="6399743"/>
                </a:cubicBezTo>
                <a:lnTo>
                  <a:pt x="1105916" y="6437490"/>
                </a:lnTo>
                <a:lnTo>
                  <a:pt x="1072832" y="6477859"/>
                </a:lnTo>
                <a:cubicBezTo>
                  <a:pt x="1070208" y="6481162"/>
                  <a:pt x="1068808" y="6484296"/>
                  <a:pt x="1068804" y="6488116"/>
                </a:cubicBezTo>
                <a:cubicBezTo>
                  <a:pt x="1068804" y="6495771"/>
                  <a:pt x="1075106" y="6500453"/>
                  <a:pt x="1081058" y="6500453"/>
                </a:cubicBezTo>
                <a:cubicBezTo>
                  <a:pt x="1087006" y="6500453"/>
                  <a:pt x="1090509" y="6497851"/>
                  <a:pt x="1094178" y="6493158"/>
                </a:cubicBezTo>
                <a:lnTo>
                  <a:pt x="1122547" y="6456446"/>
                </a:lnTo>
                <a:lnTo>
                  <a:pt x="1151245" y="6493840"/>
                </a:lnTo>
                <a:cubicBezTo>
                  <a:pt x="1154577" y="6498202"/>
                  <a:pt x="1157901" y="6500453"/>
                  <a:pt x="1163682" y="6500453"/>
                </a:cubicBezTo>
                <a:cubicBezTo>
                  <a:pt x="1171375" y="6500453"/>
                  <a:pt x="1176985" y="6494721"/>
                  <a:pt x="1176985" y="6487245"/>
                </a:cubicBezTo>
                <a:cubicBezTo>
                  <a:pt x="1176985" y="6483414"/>
                  <a:pt x="1175061" y="6479930"/>
                  <a:pt x="1172953" y="6477326"/>
                </a:cubicBezTo>
                <a:lnTo>
                  <a:pt x="1140045" y="6437142"/>
                </a:lnTo>
                <a:lnTo>
                  <a:pt x="1171204" y="6399218"/>
                </a:lnTo>
                <a:cubicBezTo>
                  <a:pt x="1173832" y="6395908"/>
                  <a:pt x="1175232" y="6392785"/>
                  <a:pt x="1175232" y="6388948"/>
                </a:cubicBezTo>
                <a:cubicBezTo>
                  <a:pt x="1175232" y="6381285"/>
                  <a:pt x="1168930" y="6376596"/>
                  <a:pt x="1162974" y="6376596"/>
                </a:cubicBezTo>
                <a:cubicBezTo>
                  <a:pt x="1157030" y="6376596"/>
                  <a:pt x="1153527" y="6379213"/>
                  <a:pt x="1149854" y="6383906"/>
                </a:cubicBezTo>
                <a:lnTo>
                  <a:pt x="1123242" y="6418698"/>
                </a:lnTo>
                <a:lnTo>
                  <a:pt x="1096461" y="6383214"/>
                </a:lnTo>
                <a:cubicBezTo>
                  <a:pt x="1093137" y="6378861"/>
                  <a:pt x="1089813" y="6376596"/>
                  <a:pt x="1084032" y="6376596"/>
                </a:cubicBezTo>
                <a:close/>
                <a:moveTo>
                  <a:pt x="726895" y="6376596"/>
                </a:moveTo>
                <a:cubicBezTo>
                  <a:pt x="719373" y="6376596"/>
                  <a:pt x="713418" y="6382520"/>
                  <a:pt x="713418" y="6389983"/>
                </a:cubicBezTo>
                <a:lnTo>
                  <a:pt x="713418" y="6447235"/>
                </a:lnTo>
                <a:cubicBezTo>
                  <a:pt x="713418" y="6483068"/>
                  <a:pt x="733544" y="6501335"/>
                  <a:pt x="766460" y="6501335"/>
                </a:cubicBezTo>
                <a:cubicBezTo>
                  <a:pt x="799369" y="6501335"/>
                  <a:pt x="820190" y="6483247"/>
                  <a:pt x="820190" y="6446364"/>
                </a:cubicBezTo>
                <a:lnTo>
                  <a:pt x="820190" y="6389983"/>
                </a:lnTo>
                <a:cubicBezTo>
                  <a:pt x="820190" y="6382519"/>
                  <a:pt x="814240" y="6376596"/>
                  <a:pt x="806715" y="6376596"/>
                </a:cubicBezTo>
                <a:cubicBezTo>
                  <a:pt x="799194" y="6376596"/>
                  <a:pt x="793233" y="6382520"/>
                  <a:pt x="793233" y="6389983"/>
                </a:cubicBezTo>
                <a:lnTo>
                  <a:pt x="793233" y="6447403"/>
                </a:lnTo>
                <a:cubicBezTo>
                  <a:pt x="793233" y="6466715"/>
                  <a:pt x="783258" y="6476628"/>
                  <a:pt x="766806" y="6476628"/>
                </a:cubicBezTo>
                <a:cubicBezTo>
                  <a:pt x="750357" y="6476628"/>
                  <a:pt x="740371" y="6466358"/>
                  <a:pt x="740371" y="6446530"/>
                </a:cubicBezTo>
                <a:lnTo>
                  <a:pt x="740371" y="6389983"/>
                </a:lnTo>
                <a:cubicBezTo>
                  <a:pt x="740371" y="6382519"/>
                  <a:pt x="734418" y="6376596"/>
                  <a:pt x="726895" y="6376596"/>
                </a:cubicBezTo>
                <a:close/>
                <a:moveTo>
                  <a:pt x="10804524" y="1"/>
                </a:moveTo>
                <a:lnTo>
                  <a:pt x="10804524" y="730423"/>
                </a:lnTo>
                <a:cubicBezTo>
                  <a:pt x="10804524" y="953909"/>
                  <a:pt x="10985832" y="1135064"/>
                  <a:pt x="11209337" y="1135064"/>
                </a:cubicBezTo>
                <a:cubicBezTo>
                  <a:pt x="11433013" y="1135064"/>
                  <a:pt x="11614149" y="953909"/>
                  <a:pt x="11614149" y="730423"/>
                </a:cubicBezTo>
                <a:lnTo>
                  <a:pt x="11614149" y="1"/>
                </a:lnTo>
                <a:close/>
                <a:moveTo>
                  <a:pt x="10452098" y="0"/>
                </a:moveTo>
                <a:lnTo>
                  <a:pt x="11999911" y="0"/>
                </a:lnTo>
                <a:lnTo>
                  <a:pt x="11999911" y="1"/>
                </a:lnTo>
                <a:lnTo>
                  <a:pt x="12191993" y="1"/>
                </a:lnTo>
                <a:lnTo>
                  <a:pt x="12191993" y="6857997"/>
                </a:lnTo>
                <a:lnTo>
                  <a:pt x="0" y="6857997"/>
                </a:lnTo>
                <a:lnTo>
                  <a:pt x="0" y="1"/>
                </a:lnTo>
                <a:lnTo>
                  <a:pt x="10452098" y="1"/>
                </a:lnTo>
                <a:close/>
              </a:path>
            </a:pathLst>
          </a:custGeom>
          <a:solidFill>
            <a:srgbClr val="666666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 wrap="square" anchor="ctr">
            <a:noAutofit/>
          </a:bodyPr>
          <a:lstStyle>
            <a:lvl1pPr algn="ctr" rtl="0">
              <a:defRPr sz="1400"/>
            </a:lvl1pPr>
          </a:lstStyle>
          <a:p>
            <a:r>
              <a:rPr lang="en-US" noProof="0" dirty="0"/>
              <a:t>  </a:t>
            </a:r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CD220309-06C7-4099-8C62-0E972EBC963F}"/>
              </a:ext>
            </a:extLst>
          </p:cNvPr>
          <p:cNvSpPr>
            <a:spLocks noEditPoints="1"/>
          </p:cNvSpPr>
          <p:nvPr/>
        </p:nvSpPr>
        <p:spPr bwMode="gray">
          <a:xfrm>
            <a:off x="10929938" y="487363"/>
            <a:ext cx="595313" cy="320675"/>
          </a:xfrm>
          <a:custGeom>
            <a:avLst/>
            <a:gdLst>
              <a:gd name="T0" fmla="*/ 3270 w 3471"/>
              <a:gd name="T1" fmla="*/ 1872 h 1872"/>
              <a:gd name="T2" fmla="*/ 3137 w 3471"/>
              <a:gd name="T3" fmla="*/ 1817 h 1872"/>
              <a:gd name="T4" fmla="*/ 2679 w 3471"/>
              <a:gd name="T5" fmla="*/ 1358 h 1872"/>
              <a:gd name="T6" fmla="*/ 2677 w 3471"/>
              <a:gd name="T7" fmla="*/ 1096 h 1872"/>
              <a:gd name="T8" fmla="*/ 2806 w 3471"/>
              <a:gd name="T9" fmla="*/ 1042 h 1872"/>
              <a:gd name="T10" fmla="*/ 2939 w 3471"/>
              <a:gd name="T11" fmla="*/ 1098 h 1872"/>
              <a:gd name="T12" fmla="*/ 3397 w 3471"/>
              <a:gd name="T13" fmla="*/ 1557 h 1872"/>
              <a:gd name="T14" fmla="*/ 3452 w 3471"/>
              <a:gd name="T15" fmla="*/ 1688 h 1872"/>
              <a:gd name="T16" fmla="*/ 3399 w 3471"/>
              <a:gd name="T17" fmla="*/ 1819 h 1872"/>
              <a:gd name="T18" fmla="*/ 3270 w 3471"/>
              <a:gd name="T19" fmla="*/ 1872 h 1872"/>
              <a:gd name="T20" fmla="*/ 3270 w 3471"/>
              <a:gd name="T21" fmla="*/ 1872 h 1872"/>
              <a:gd name="T22" fmla="*/ 1787 w 3471"/>
              <a:gd name="T23" fmla="*/ 1872 h 1872"/>
              <a:gd name="T24" fmla="*/ 1658 w 3471"/>
              <a:gd name="T25" fmla="*/ 1819 h 1872"/>
              <a:gd name="T26" fmla="*/ 1605 w 3471"/>
              <a:gd name="T27" fmla="*/ 1688 h 1872"/>
              <a:gd name="T28" fmla="*/ 1660 w 3471"/>
              <a:gd name="T29" fmla="*/ 1557 h 1872"/>
              <a:gd name="T30" fmla="*/ 2119 w 3471"/>
              <a:gd name="T31" fmla="*/ 1098 h 1872"/>
              <a:gd name="T32" fmla="*/ 2252 w 3471"/>
              <a:gd name="T33" fmla="*/ 1042 h 1872"/>
              <a:gd name="T34" fmla="*/ 2381 w 3471"/>
              <a:gd name="T35" fmla="*/ 1096 h 1872"/>
              <a:gd name="T36" fmla="*/ 2379 w 3471"/>
              <a:gd name="T37" fmla="*/ 1358 h 1872"/>
              <a:gd name="T38" fmla="*/ 1920 w 3471"/>
              <a:gd name="T39" fmla="*/ 1817 h 1872"/>
              <a:gd name="T40" fmla="*/ 1787 w 3471"/>
              <a:gd name="T41" fmla="*/ 1872 h 1872"/>
              <a:gd name="T42" fmla="*/ 1787 w 3471"/>
              <a:gd name="T43" fmla="*/ 1872 h 1872"/>
              <a:gd name="T44" fmla="*/ 196 w 3471"/>
              <a:gd name="T45" fmla="*/ 1857 h 1872"/>
              <a:gd name="T46" fmla="*/ 0 w 3471"/>
              <a:gd name="T47" fmla="*/ 1662 h 1872"/>
              <a:gd name="T48" fmla="*/ 0 w 3471"/>
              <a:gd name="T49" fmla="*/ 211 h 1872"/>
              <a:gd name="T50" fmla="*/ 196 w 3471"/>
              <a:gd name="T51" fmla="*/ 16 h 1872"/>
              <a:gd name="T52" fmla="*/ 1219 w 3471"/>
              <a:gd name="T53" fmla="*/ 16 h 1872"/>
              <a:gd name="T54" fmla="*/ 1390 w 3471"/>
              <a:gd name="T55" fmla="*/ 185 h 1872"/>
              <a:gd name="T56" fmla="*/ 1219 w 3471"/>
              <a:gd name="T57" fmla="*/ 354 h 1872"/>
              <a:gd name="T58" fmla="*/ 372 w 3471"/>
              <a:gd name="T59" fmla="*/ 354 h 1872"/>
              <a:gd name="T60" fmla="*/ 372 w 3471"/>
              <a:gd name="T61" fmla="*/ 1518 h 1872"/>
              <a:gd name="T62" fmla="*/ 1232 w 3471"/>
              <a:gd name="T63" fmla="*/ 1518 h 1872"/>
              <a:gd name="T64" fmla="*/ 1404 w 3471"/>
              <a:gd name="T65" fmla="*/ 1688 h 1872"/>
              <a:gd name="T66" fmla="*/ 1232 w 3471"/>
              <a:gd name="T67" fmla="*/ 1857 h 1872"/>
              <a:gd name="T68" fmla="*/ 196 w 3471"/>
              <a:gd name="T69" fmla="*/ 1857 h 1872"/>
              <a:gd name="T70" fmla="*/ 590 w 3471"/>
              <a:gd name="T71" fmla="*/ 1099 h 1872"/>
              <a:gd name="T72" fmla="*/ 590 w 3471"/>
              <a:gd name="T73" fmla="*/ 761 h 1872"/>
              <a:gd name="T74" fmla="*/ 1628 w 3471"/>
              <a:gd name="T75" fmla="*/ 761 h 1872"/>
              <a:gd name="T76" fmla="*/ 1800 w 3471"/>
              <a:gd name="T77" fmla="*/ 930 h 1872"/>
              <a:gd name="T78" fmla="*/ 1628 w 3471"/>
              <a:gd name="T79" fmla="*/ 1099 h 1872"/>
              <a:gd name="T80" fmla="*/ 590 w 3471"/>
              <a:gd name="T81" fmla="*/ 1099 h 1872"/>
              <a:gd name="T82" fmla="*/ 2806 w 3471"/>
              <a:gd name="T83" fmla="*/ 831 h 1872"/>
              <a:gd name="T84" fmla="*/ 2677 w 3471"/>
              <a:gd name="T85" fmla="*/ 777 h 1872"/>
              <a:gd name="T86" fmla="*/ 2679 w 3471"/>
              <a:gd name="T87" fmla="*/ 515 h 1872"/>
              <a:gd name="T88" fmla="*/ 3137 w 3471"/>
              <a:gd name="T89" fmla="*/ 56 h 1872"/>
              <a:gd name="T90" fmla="*/ 3270 w 3471"/>
              <a:gd name="T91" fmla="*/ 0 h 1872"/>
              <a:gd name="T92" fmla="*/ 3399 w 3471"/>
              <a:gd name="T93" fmla="*/ 54 h 1872"/>
              <a:gd name="T94" fmla="*/ 3397 w 3471"/>
              <a:gd name="T95" fmla="*/ 316 h 1872"/>
              <a:gd name="T96" fmla="*/ 2939 w 3471"/>
              <a:gd name="T97" fmla="*/ 775 h 1872"/>
              <a:gd name="T98" fmla="*/ 2806 w 3471"/>
              <a:gd name="T99" fmla="*/ 831 h 1872"/>
              <a:gd name="T100" fmla="*/ 2252 w 3471"/>
              <a:gd name="T101" fmla="*/ 831 h 1872"/>
              <a:gd name="T102" fmla="*/ 2119 w 3471"/>
              <a:gd name="T103" fmla="*/ 775 h 1872"/>
              <a:gd name="T104" fmla="*/ 1660 w 3471"/>
              <a:gd name="T105" fmla="*/ 316 h 1872"/>
              <a:gd name="T106" fmla="*/ 1658 w 3471"/>
              <a:gd name="T107" fmla="*/ 54 h 1872"/>
              <a:gd name="T108" fmla="*/ 1787 w 3471"/>
              <a:gd name="T109" fmla="*/ 0 h 1872"/>
              <a:gd name="T110" fmla="*/ 1920 w 3471"/>
              <a:gd name="T111" fmla="*/ 56 h 1872"/>
              <a:gd name="T112" fmla="*/ 2379 w 3471"/>
              <a:gd name="T113" fmla="*/ 515 h 1872"/>
              <a:gd name="T114" fmla="*/ 2381 w 3471"/>
              <a:gd name="T115" fmla="*/ 777 h 1872"/>
              <a:gd name="T116" fmla="*/ 2252 w 3471"/>
              <a:gd name="T117" fmla="*/ 831 h 1872"/>
              <a:gd name="T118" fmla="*/ 2252 w 3471"/>
              <a:gd name="T119" fmla="*/ 831 h 1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71" h="1872">
                <a:moveTo>
                  <a:pt x="3270" y="1872"/>
                </a:moveTo>
                <a:cubicBezTo>
                  <a:pt x="3220" y="1872"/>
                  <a:pt x="3173" y="1853"/>
                  <a:pt x="3137" y="1817"/>
                </a:cubicBezTo>
                <a:lnTo>
                  <a:pt x="2679" y="1358"/>
                </a:lnTo>
                <a:cubicBezTo>
                  <a:pt x="2606" y="1285"/>
                  <a:pt x="2605" y="1167"/>
                  <a:pt x="2677" y="1096"/>
                </a:cubicBezTo>
                <a:cubicBezTo>
                  <a:pt x="2711" y="1061"/>
                  <a:pt x="2757" y="1042"/>
                  <a:pt x="2806" y="1042"/>
                </a:cubicBezTo>
                <a:cubicBezTo>
                  <a:pt x="2856" y="1042"/>
                  <a:pt x="2903" y="1062"/>
                  <a:pt x="2939" y="1098"/>
                </a:cubicBezTo>
                <a:lnTo>
                  <a:pt x="3397" y="1557"/>
                </a:lnTo>
                <a:cubicBezTo>
                  <a:pt x="3432" y="1592"/>
                  <a:pt x="3452" y="1639"/>
                  <a:pt x="3452" y="1688"/>
                </a:cubicBezTo>
                <a:cubicBezTo>
                  <a:pt x="3453" y="1738"/>
                  <a:pt x="3434" y="1784"/>
                  <a:pt x="3399" y="1819"/>
                </a:cubicBezTo>
                <a:cubicBezTo>
                  <a:pt x="3365" y="1854"/>
                  <a:pt x="3319" y="1872"/>
                  <a:pt x="3270" y="1872"/>
                </a:cubicBezTo>
                <a:lnTo>
                  <a:pt x="3270" y="1872"/>
                </a:lnTo>
                <a:close/>
                <a:moveTo>
                  <a:pt x="1787" y="1872"/>
                </a:moveTo>
                <a:cubicBezTo>
                  <a:pt x="1739" y="1872"/>
                  <a:pt x="1693" y="1854"/>
                  <a:pt x="1658" y="1819"/>
                </a:cubicBezTo>
                <a:cubicBezTo>
                  <a:pt x="1624" y="1784"/>
                  <a:pt x="1605" y="1738"/>
                  <a:pt x="1605" y="1688"/>
                </a:cubicBezTo>
                <a:cubicBezTo>
                  <a:pt x="1605" y="1639"/>
                  <a:pt x="1625" y="1592"/>
                  <a:pt x="1660" y="1557"/>
                </a:cubicBezTo>
                <a:lnTo>
                  <a:pt x="2119" y="1098"/>
                </a:lnTo>
                <a:cubicBezTo>
                  <a:pt x="2154" y="1062"/>
                  <a:pt x="2202" y="1042"/>
                  <a:pt x="2252" y="1042"/>
                </a:cubicBezTo>
                <a:cubicBezTo>
                  <a:pt x="2300" y="1042"/>
                  <a:pt x="2346" y="1061"/>
                  <a:pt x="2381" y="1096"/>
                </a:cubicBezTo>
                <a:cubicBezTo>
                  <a:pt x="2452" y="1167"/>
                  <a:pt x="2451" y="1285"/>
                  <a:pt x="2379" y="1358"/>
                </a:cubicBezTo>
                <a:lnTo>
                  <a:pt x="1920" y="1817"/>
                </a:lnTo>
                <a:cubicBezTo>
                  <a:pt x="1885" y="1853"/>
                  <a:pt x="1837" y="1872"/>
                  <a:pt x="1787" y="1872"/>
                </a:cubicBezTo>
                <a:cubicBezTo>
                  <a:pt x="1787" y="1872"/>
                  <a:pt x="1787" y="1872"/>
                  <a:pt x="1787" y="1872"/>
                </a:cubicBezTo>
                <a:close/>
                <a:moveTo>
                  <a:pt x="196" y="1857"/>
                </a:moveTo>
                <a:cubicBezTo>
                  <a:pt x="87" y="1857"/>
                  <a:pt x="0" y="1771"/>
                  <a:pt x="0" y="1662"/>
                </a:cubicBezTo>
                <a:lnTo>
                  <a:pt x="0" y="211"/>
                </a:lnTo>
                <a:cubicBezTo>
                  <a:pt x="0" y="102"/>
                  <a:pt x="87" y="16"/>
                  <a:pt x="196" y="16"/>
                </a:cubicBezTo>
                <a:lnTo>
                  <a:pt x="1219" y="16"/>
                </a:lnTo>
                <a:cubicBezTo>
                  <a:pt x="1313" y="16"/>
                  <a:pt x="1390" y="92"/>
                  <a:pt x="1390" y="185"/>
                </a:cubicBezTo>
                <a:cubicBezTo>
                  <a:pt x="1390" y="278"/>
                  <a:pt x="1313" y="354"/>
                  <a:pt x="1219" y="354"/>
                </a:cubicBezTo>
                <a:lnTo>
                  <a:pt x="372" y="354"/>
                </a:lnTo>
                <a:lnTo>
                  <a:pt x="372" y="1518"/>
                </a:lnTo>
                <a:lnTo>
                  <a:pt x="1232" y="1518"/>
                </a:lnTo>
                <a:cubicBezTo>
                  <a:pt x="1327" y="1518"/>
                  <a:pt x="1404" y="1594"/>
                  <a:pt x="1404" y="1688"/>
                </a:cubicBezTo>
                <a:cubicBezTo>
                  <a:pt x="1404" y="1781"/>
                  <a:pt x="1327" y="1857"/>
                  <a:pt x="1232" y="1857"/>
                </a:cubicBezTo>
                <a:lnTo>
                  <a:pt x="196" y="1857"/>
                </a:lnTo>
                <a:close/>
                <a:moveTo>
                  <a:pt x="590" y="1099"/>
                </a:moveTo>
                <a:lnTo>
                  <a:pt x="590" y="761"/>
                </a:lnTo>
                <a:lnTo>
                  <a:pt x="1628" y="761"/>
                </a:lnTo>
                <a:cubicBezTo>
                  <a:pt x="1723" y="761"/>
                  <a:pt x="1800" y="837"/>
                  <a:pt x="1800" y="930"/>
                </a:cubicBezTo>
                <a:cubicBezTo>
                  <a:pt x="1800" y="1023"/>
                  <a:pt x="1723" y="1099"/>
                  <a:pt x="1628" y="1099"/>
                </a:cubicBezTo>
                <a:lnTo>
                  <a:pt x="590" y="1099"/>
                </a:lnTo>
                <a:close/>
                <a:moveTo>
                  <a:pt x="2806" y="831"/>
                </a:moveTo>
                <a:cubicBezTo>
                  <a:pt x="2757" y="831"/>
                  <a:pt x="2711" y="812"/>
                  <a:pt x="2677" y="777"/>
                </a:cubicBezTo>
                <a:cubicBezTo>
                  <a:pt x="2605" y="706"/>
                  <a:pt x="2606" y="588"/>
                  <a:pt x="2679" y="515"/>
                </a:cubicBezTo>
                <a:lnTo>
                  <a:pt x="3137" y="56"/>
                </a:lnTo>
                <a:cubicBezTo>
                  <a:pt x="3173" y="20"/>
                  <a:pt x="3220" y="0"/>
                  <a:pt x="3270" y="0"/>
                </a:cubicBezTo>
                <a:cubicBezTo>
                  <a:pt x="3319" y="0"/>
                  <a:pt x="3365" y="19"/>
                  <a:pt x="3399" y="54"/>
                </a:cubicBezTo>
                <a:cubicBezTo>
                  <a:pt x="3471" y="126"/>
                  <a:pt x="3470" y="243"/>
                  <a:pt x="3397" y="316"/>
                </a:cubicBezTo>
                <a:lnTo>
                  <a:pt x="2939" y="775"/>
                </a:lnTo>
                <a:cubicBezTo>
                  <a:pt x="2903" y="811"/>
                  <a:pt x="2856" y="831"/>
                  <a:pt x="2806" y="831"/>
                </a:cubicBezTo>
                <a:close/>
                <a:moveTo>
                  <a:pt x="2252" y="831"/>
                </a:moveTo>
                <a:cubicBezTo>
                  <a:pt x="2202" y="831"/>
                  <a:pt x="2154" y="811"/>
                  <a:pt x="2119" y="775"/>
                </a:cubicBezTo>
                <a:lnTo>
                  <a:pt x="1660" y="316"/>
                </a:lnTo>
                <a:cubicBezTo>
                  <a:pt x="1588" y="243"/>
                  <a:pt x="1587" y="126"/>
                  <a:pt x="1658" y="54"/>
                </a:cubicBezTo>
                <a:cubicBezTo>
                  <a:pt x="1693" y="19"/>
                  <a:pt x="1739" y="0"/>
                  <a:pt x="1787" y="0"/>
                </a:cubicBezTo>
                <a:cubicBezTo>
                  <a:pt x="1837" y="0"/>
                  <a:pt x="1885" y="20"/>
                  <a:pt x="1920" y="56"/>
                </a:cubicBezTo>
                <a:lnTo>
                  <a:pt x="2379" y="515"/>
                </a:lnTo>
                <a:cubicBezTo>
                  <a:pt x="2451" y="588"/>
                  <a:pt x="2452" y="706"/>
                  <a:pt x="2381" y="777"/>
                </a:cubicBezTo>
                <a:cubicBezTo>
                  <a:pt x="2346" y="812"/>
                  <a:pt x="2300" y="831"/>
                  <a:pt x="2252" y="831"/>
                </a:cubicBezTo>
                <a:lnTo>
                  <a:pt x="2252" y="831"/>
                </a:lnTo>
                <a:close/>
              </a:path>
            </a:pathLst>
          </a:custGeom>
          <a:solidFill>
            <a:srgbClr val="20175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66774" y="1923421"/>
            <a:ext cx="5256213" cy="1325559"/>
          </a:xfrm>
        </p:spPr>
        <p:txBody>
          <a:bodyPr vert="horz"/>
          <a:lstStyle>
            <a:lvl1pPr rtl="0"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70D1A87-3AA5-49BF-9682-78DA305E86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7375" y="1736812"/>
            <a:ext cx="971550" cy="1512168"/>
          </a:xfrm>
        </p:spPr>
        <p:txBody>
          <a:bodyPr/>
          <a:lstStyle>
            <a:lvl1pPr marL="0" indent="0" rtl="0">
              <a:lnSpc>
                <a:spcPct val="100000"/>
              </a:lnSpc>
              <a:buNone/>
              <a:defRPr sz="10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340F58-28D3-41A4-93C0-B550F7BAFC4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BF0EDB7-A43A-4EEE-BCC2-6B6BE4CB0D4A}" type="datetime1">
              <a:rPr lang="en-US"/>
              <a:t>8/31/2022</a:t>
            </a:fld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D8599A-CBD4-4BCE-90EB-575D8BF04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AE679F24-A1D8-418A-ACCC-0E990D5357C8}"/>
              </a:ext>
            </a:extLst>
          </p:cNvPr>
          <p:cNvCxnSpPr>
            <a:cxnSpLocks/>
          </p:cNvCxnSpPr>
          <p:nvPr/>
        </p:nvCxnSpPr>
        <p:spPr bwMode="gray">
          <a:xfrm>
            <a:off x="10804526" y="0"/>
            <a:ext cx="8096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1021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parator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BAA9239-34B8-4530-8FBC-5AF608CE1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34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8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999A5F30-8249-4711-9667-08E40069354A}"/>
              </a:ext>
            </a:extLst>
          </p:cNvPr>
          <p:cNvSpPr/>
          <p:nvPr/>
        </p:nvSpPr>
        <p:spPr bwMode="gray">
          <a:xfrm>
            <a:off x="0" y="0"/>
            <a:ext cx="12192000" cy="6857997"/>
          </a:xfrm>
          <a:prstGeom prst="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 rtl="0"/>
            <a:endParaRPr lang="en-US" sz="1400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9D70090B-04B5-4477-82BA-72CEE4E3EB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" y="0"/>
            <a:ext cx="12191993" cy="6857997"/>
          </a:xfrm>
          <a:custGeom>
            <a:avLst/>
            <a:gdLst>
              <a:gd name="connsiteX0" fmla="*/ 871218 w 12191993"/>
              <a:gd name="connsiteY0" fmla="*/ 6401826 h 6857997"/>
              <a:gd name="connsiteX1" fmla="*/ 889814 w 12191993"/>
              <a:gd name="connsiteY1" fmla="*/ 6401826 h 6857997"/>
              <a:gd name="connsiteX2" fmla="*/ 911004 w 12191993"/>
              <a:gd name="connsiteY2" fmla="*/ 6419388 h 6857997"/>
              <a:gd name="connsiteX3" fmla="*/ 890349 w 12191993"/>
              <a:gd name="connsiteY3" fmla="*/ 6436783 h 6857997"/>
              <a:gd name="connsiteX4" fmla="*/ 871218 w 12191993"/>
              <a:gd name="connsiteY4" fmla="*/ 6436783 h 6857997"/>
              <a:gd name="connsiteX5" fmla="*/ 975760 w 12191993"/>
              <a:gd name="connsiteY5" fmla="*/ 6377645 h 6857997"/>
              <a:gd name="connsiteX6" fmla="*/ 962289 w 12191993"/>
              <a:gd name="connsiteY6" fmla="*/ 6391032 h 6857997"/>
              <a:gd name="connsiteX7" fmla="*/ 962289 w 12191993"/>
              <a:gd name="connsiteY7" fmla="*/ 6486023 h 6857997"/>
              <a:gd name="connsiteX8" fmla="*/ 975760 w 12191993"/>
              <a:gd name="connsiteY8" fmla="*/ 6499422 h 6857997"/>
              <a:gd name="connsiteX9" fmla="*/ 1044552 w 12191993"/>
              <a:gd name="connsiteY9" fmla="*/ 6499422 h 6857997"/>
              <a:gd name="connsiteX10" fmla="*/ 1056631 w 12191993"/>
              <a:gd name="connsiteY10" fmla="*/ 6487591 h 6857997"/>
              <a:gd name="connsiteX11" fmla="*/ 1044552 w 12191993"/>
              <a:gd name="connsiteY11" fmla="*/ 6475597 h 6857997"/>
              <a:gd name="connsiteX12" fmla="*/ 989061 w 12191993"/>
              <a:gd name="connsiteY12" fmla="*/ 6475597 h 6857997"/>
              <a:gd name="connsiteX13" fmla="*/ 989061 w 12191993"/>
              <a:gd name="connsiteY13" fmla="*/ 6450011 h 6857997"/>
              <a:gd name="connsiteX14" fmla="*/ 1035792 w 12191993"/>
              <a:gd name="connsiteY14" fmla="*/ 6450011 h 6857997"/>
              <a:gd name="connsiteX15" fmla="*/ 1047871 w 12191993"/>
              <a:gd name="connsiteY15" fmla="*/ 6438180 h 6857997"/>
              <a:gd name="connsiteX16" fmla="*/ 1035792 w 12191993"/>
              <a:gd name="connsiteY16" fmla="*/ 6426174 h 6857997"/>
              <a:gd name="connsiteX17" fmla="*/ 989061 w 12191993"/>
              <a:gd name="connsiteY17" fmla="*/ 6426174 h 6857997"/>
              <a:gd name="connsiteX18" fmla="*/ 989061 w 12191993"/>
              <a:gd name="connsiteY18" fmla="*/ 6401483 h 6857997"/>
              <a:gd name="connsiteX19" fmla="*/ 1043677 w 12191993"/>
              <a:gd name="connsiteY19" fmla="*/ 6401483 h 6857997"/>
              <a:gd name="connsiteX20" fmla="*/ 1055752 w 12191993"/>
              <a:gd name="connsiteY20" fmla="*/ 6389642 h 6857997"/>
              <a:gd name="connsiteX21" fmla="*/ 1043677 w 12191993"/>
              <a:gd name="connsiteY21" fmla="*/ 6377645 h 6857997"/>
              <a:gd name="connsiteX22" fmla="*/ 857741 w 12191993"/>
              <a:gd name="connsiteY22" fmla="*/ 6377645 h 6857997"/>
              <a:gd name="connsiteX23" fmla="*/ 844260 w 12191993"/>
              <a:gd name="connsiteY23" fmla="*/ 6391032 h 6857997"/>
              <a:gd name="connsiteX24" fmla="*/ 844260 w 12191993"/>
              <a:gd name="connsiteY24" fmla="*/ 6487068 h 6857997"/>
              <a:gd name="connsiteX25" fmla="*/ 857741 w 12191993"/>
              <a:gd name="connsiteY25" fmla="*/ 6500453 h 6857997"/>
              <a:gd name="connsiteX26" fmla="*/ 871218 w 12191993"/>
              <a:gd name="connsiteY26" fmla="*/ 6487068 h 6857997"/>
              <a:gd name="connsiteX27" fmla="*/ 871218 w 12191993"/>
              <a:gd name="connsiteY27" fmla="*/ 6460454 h 6857997"/>
              <a:gd name="connsiteX28" fmla="*/ 888658 w 12191993"/>
              <a:gd name="connsiteY28" fmla="*/ 6460454 h 6857997"/>
              <a:gd name="connsiteX29" fmla="*/ 916283 w 12191993"/>
              <a:gd name="connsiteY29" fmla="*/ 6493518 h 6857997"/>
              <a:gd name="connsiteX30" fmla="*/ 929577 w 12191993"/>
              <a:gd name="connsiteY30" fmla="*/ 6500453 h 6857997"/>
              <a:gd name="connsiteX31" fmla="*/ 942357 w 12191993"/>
              <a:gd name="connsiteY31" fmla="*/ 6488115 h 6857997"/>
              <a:gd name="connsiteX32" fmla="*/ 937985 w 12191993"/>
              <a:gd name="connsiteY32" fmla="*/ 6477858 h 6857997"/>
              <a:gd name="connsiteX33" fmla="*/ 917888 w 12191993"/>
              <a:gd name="connsiteY33" fmla="*/ 6455227 h 6857997"/>
              <a:gd name="connsiteX34" fmla="*/ 939671 w 12191993"/>
              <a:gd name="connsiteY34" fmla="*/ 6417708 h 6857997"/>
              <a:gd name="connsiteX35" fmla="*/ 927809 w 12191993"/>
              <a:gd name="connsiteY35" fmla="*/ 6389982 h 6857997"/>
              <a:gd name="connsiteX36" fmla="*/ 892095 w 12191993"/>
              <a:gd name="connsiteY36" fmla="*/ 6377645 h 6857997"/>
              <a:gd name="connsiteX37" fmla="*/ 614675 w 12191993"/>
              <a:gd name="connsiteY37" fmla="*/ 6377645 h 6857997"/>
              <a:gd name="connsiteX38" fmla="*/ 601199 w 12191993"/>
              <a:gd name="connsiteY38" fmla="*/ 6391032 h 6857997"/>
              <a:gd name="connsiteX39" fmla="*/ 601199 w 12191993"/>
              <a:gd name="connsiteY39" fmla="*/ 6486023 h 6857997"/>
              <a:gd name="connsiteX40" fmla="*/ 614675 w 12191993"/>
              <a:gd name="connsiteY40" fmla="*/ 6499422 h 6857997"/>
              <a:gd name="connsiteX41" fmla="*/ 683465 w 12191993"/>
              <a:gd name="connsiteY41" fmla="*/ 6499422 h 6857997"/>
              <a:gd name="connsiteX42" fmla="*/ 695551 w 12191993"/>
              <a:gd name="connsiteY42" fmla="*/ 6487591 h 6857997"/>
              <a:gd name="connsiteX43" fmla="*/ 683465 w 12191993"/>
              <a:gd name="connsiteY43" fmla="*/ 6475597 h 6857997"/>
              <a:gd name="connsiteX44" fmla="*/ 627985 w 12191993"/>
              <a:gd name="connsiteY44" fmla="*/ 6475597 h 6857997"/>
              <a:gd name="connsiteX45" fmla="*/ 627985 w 12191993"/>
              <a:gd name="connsiteY45" fmla="*/ 6450011 h 6857997"/>
              <a:gd name="connsiteX46" fmla="*/ 674718 w 12191993"/>
              <a:gd name="connsiteY46" fmla="*/ 6450011 h 6857997"/>
              <a:gd name="connsiteX47" fmla="*/ 686799 w 12191993"/>
              <a:gd name="connsiteY47" fmla="*/ 6438180 h 6857997"/>
              <a:gd name="connsiteX48" fmla="*/ 674718 w 12191993"/>
              <a:gd name="connsiteY48" fmla="*/ 6426174 h 6857997"/>
              <a:gd name="connsiteX49" fmla="*/ 627985 w 12191993"/>
              <a:gd name="connsiteY49" fmla="*/ 6426174 h 6857997"/>
              <a:gd name="connsiteX50" fmla="*/ 627985 w 12191993"/>
              <a:gd name="connsiteY50" fmla="*/ 6401483 h 6857997"/>
              <a:gd name="connsiteX51" fmla="*/ 682594 w 12191993"/>
              <a:gd name="connsiteY51" fmla="*/ 6401483 h 6857997"/>
              <a:gd name="connsiteX52" fmla="*/ 694674 w 12191993"/>
              <a:gd name="connsiteY52" fmla="*/ 6389642 h 6857997"/>
              <a:gd name="connsiteX53" fmla="*/ 682594 w 12191993"/>
              <a:gd name="connsiteY53" fmla="*/ 6377645 h 6857997"/>
              <a:gd name="connsiteX54" fmla="*/ 1084032 w 12191993"/>
              <a:gd name="connsiteY54" fmla="*/ 6376596 h 6857997"/>
              <a:gd name="connsiteX55" fmla="*/ 1070728 w 12191993"/>
              <a:gd name="connsiteY55" fmla="*/ 6389815 h 6857997"/>
              <a:gd name="connsiteX56" fmla="*/ 1074752 w 12191993"/>
              <a:gd name="connsiteY56" fmla="*/ 6399743 h 6857997"/>
              <a:gd name="connsiteX57" fmla="*/ 1105916 w 12191993"/>
              <a:gd name="connsiteY57" fmla="*/ 6437490 h 6857997"/>
              <a:gd name="connsiteX58" fmla="*/ 1072832 w 12191993"/>
              <a:gd name="connsiteY58" fmla="*/ 6477859 h 6857997"/>
              <a:gd name="connsiteX59" fmla="*/ 1068804 w 12191993"/>
              <a:gd name="connsiteY59" fmla="*/ 6488116 h 6857997"/>
              <a:gd name="connsiteX60" fmla="*/ 1081058 w 12191993"/>
              <a:gd name="connsiteY60" fmla="*/ 6500453 h 6857997"/>
              <a:gd name="connsiteX61" fmla="*/ 1094178 w 12191993"/>
              <a:gd name="connsiteY61" fmla="*/ 6493158 h 6857997"/>
              <a:gd name="connsiteX62" fmla="*/ 1122547 w 12191993"/>
              <a:gd name="connsiteY62" fmla="*/ 6456446 h 6857997"/>
              <a:gd name="connsiteX63" fmla="*/ 1151245 w 12191993"/>
              <a:gd name="connsiteY63" fmla="*/ 6493840 h 6857997"/>
              <a:gd name="connsiteX64" fmla="*/ 1163682 w 12191993"/>
              <a:gd name="connsiteY64" fmla="*/ 6500453 h 6857997"/>
              <a:gd name="connsiteX65" fmla="*/ 1176985 w 12191993"/>
              <a:gd name="connsiteY65" fmla="*/ 6487245 h 6857997"/>
              <a:gd name="connsiteX66" fmla="*/ 1172953 w 12191993"/>
              <a:gd name="connsiteY66" fmla="*/ 6477326 h 6857997"/>
              <a:gd name="connsiteX67" fmla="*/ 1140045 w 12191993"/>
              <a:gd name="connsiteY67" fmla="*/ 6437142 h 6857997"/>
              <a:gd name="connsiteX68" fmla="*/ 1171204 w 12191993"/>
              <a:gd name="connsiteY68" fmla="*/ 6399218 h 6857997"/>
              <a:gd name="connsiteX69" fmla="*/ 1175232 w 12191993"/>
              <a:gd name="connsiteY69" fmla="*/ 6388948 h 6857997"/>
              <a:gd name="connsiteX70" fmla="*/ 1162974 w 12191993"/>
              <a:gd name="connsiteY70" fmla="*/ 6376596 h 6857997"/>
              <a:gd name="connsiteX71" fmla="*/ 1149854 w 12191993"/>
              <a:gd name="connsiteY71" fmla="*/ 6383906 h 6857997"/>
              <a:gd name="connsiteX72" fmla="*/ 1123242 w 12191993"/>
              <a:gd name="connsiteY72" fmla="*/ 6418698 h 6857997"/>
              <a:gd name="connsiteX73" fmla="*/ 1096461 w 12191993"/>
              <a:gd name="connsiteY73" fmla="*/ 6383214 h 6857997"/>
              <a:gd name="connsiteX74" fmla="*/ 1084032 w 12191993"/>
              <a:gd name="connsiteY74" fmla="*/ 6376596 h 6857997"/>
              <a:gd name="connsiteX75" fmla="*/ 726895 w 12191993"/>
              <a:gd name="connsiteY75" fmla="*/ 6376596 h 6857997"/>
              <a:gd name="connsiteX76" fmla="*/ 713418 w 12191993"/>
              <a:gd name="connsiteY76" fmla="*/ 6389983 h 6857997"/>
              <a:gd name="connsiteX77" fmla="*/ 713418 w 12191993"/>
              <a:gd name="connsiteY77" fmla="*/ 6447235 h 6857997"/>
              <a:gd name="connsiteX78" fmla="*/ 766460 w 12191993"/>
              <a:gd name="connsiteY78" fmla="*/ 6501335 h 6857997"/>
              <a:gd name="connsiteX79" fmla="*/ 820190 w 12191993"/>
              <a:gd name="connsiteY79" fmla="*/ 6446364 h 6857997"/>
              <a:gd name="connsiteX80" fmla="*/ 820190 w 12191993"/>
              <a:gd name="connsiteY80" fmla="*/ 6389983 h 6857997"/>
              <a:gd name="connsiteX81" fmla="*/ 806715 w 12191993"/>
              <a:gd name="connsiteY81" fmla="*/ 6376596 h 6857997"/>
              <a:gd name="connsiteX82" fmla="*/ 793233 w 12191993"/>
              <a:gd name="connsiteY82" fmla="*/ 6389983 h 6857997"/>
              <a:gd name="connsiteX83" fmla="*/ 793233 w 12191993"/>
              <a:gd name="connsiteY83" fmla="*/ 6447403 h 6857997"/>
              <a:gd name="connsiteX84" fmla="*/ 766806 w 12191993"/>
              <a:gd name="connsiteY84" fmla="*/ 6476628 h 6857997"/>
              <a:gd name="connsiteX85" fmla="*/ 740371 w 12191993"/>
              <a:gd name="connsiteY85" fmla="*/ 6446530 h 6857997"/>
              <a:gd name="connsiteX86" fmla="*/ 740371 w 12191993"/>
              <a:gd name="connsiteY86" fmla="*/ 6389983 h 6857997"/>
              <a:gd name="connsiteX87" fmla="*/ 726895 w 12191993"/>
              <a:gd name="connsiteY87" fmla="*/ 6376596 h 6857997"/>
              <a:gd name="connsiteX88" fmla="*/ 10452098 w 12191993"/>
              <a:gd name="connsiteY88" fmla="*/ 0 h 6857997"/>
              <a:gd name="connsiteX89" fmla="*/ 11999911 w 12191993"/>
              <a:gd name="connsiteY89" fmla="*/ 0 h 6857997"/>
              <a:gd name="connsiteX90" fmla="*/ 11999911 w 12191993"/>
              <a:gd name="connsiteY90" fmla="*/ 1 h 6857997"/>
              <a:gd name="connsiteX91" fmla="*/ 12191993 w 12191993"/>
              <a:gd name="connsiteY91" fmla="*/ 1 h 6857997"/>
              <a:gd name="connsiteX92" fmla="*/ 12191993 w 12191993"/>
              <a:gd name="connsiteY92" fmla="*/ 6857997 h 6857997"/>
              <a:gd name="connsiteX93" fmla="*/ 0 w 12191993"/>
              <a:gd name="connsiteY93" fmla="*/ 6857997 h 6857997"/>
              <a:gd name="connsiteX94" fmla="*/ 0 w 12191993"/>
              <a:gd name="connsiteY94" fmla="*/ 1 h 6857997"/>
              <a:gd name="connsiteX95" fmla="*/ 10452098 w 12191993"/>
              <a:gd name="connsiteY95" fmla="*/ 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2191993" h="6857997">
                <a:moveTo>
                  <a:pt x="871218" y="6401826"/>
                </a:moveTo>
                <a:lnTo>
                  <a:pt x="889814" y="6401826"/>
                </a:lnTo>
                <a:cubicBezTo>
                  <a:pt x="902950" y="6401826"/>
                  <a:pt x="911004" y="6407683"/>
                  <a:pt x="911004" y="6419388"/>
                </a:cubicBezTo>
                <a:cubicBezTo>
                  <a:pt x="911004" y="6429860"/>
                  <a:pt x="903474" y="6436783"/>
                  <a:pt x="890349" y="6436783"/>
                </a:cubicBezTo>
                <a:lnTo>
                  <a:pt x="871218" y="6436783"/>
                </a:lnTo>
                <a:close/>
                <a:moveTo>
                  <a:pt x="975760" y="6377645"/>
                </a:moveTo>
                <a:cubicBezTo>
                  <a:pt x="968236" y="6377645"/>
                  <a:pt x="962289" y="6383553"/>
                  <a:pt x="962289" y="6391032"/>
                </a:cubicBezTo>
                <a:lnTo>
                  <a:pt x="962289" y="6486023"/>
                </a:lnTo>
                <a:cubicBezTo>
                  <a:pt x="962289" y="6493518"/>
                  <a:pt x="968236" y="6499422"/>
                  <a:pt x="975760" y="6499422"/>
                </a:cubicBezTo>
                <a:lnTo>
                  <a:pt x="1044552" y="6499422"/>
                </a:lnTo>
                <a:cubicBezTo>
                  <a:pt x="1051203" y="6499422"/>
                  <a:pt x="1056631" y="6494204"/>
                  <a:pt x="1056631" y="6487591"/>
                </a:cubicBezTo>
                <a:cubicBezTo>
                  <a:pt x="1056631" y="6480981"/>
                  <a:pt x="1051203" y="6475597"/>
                  <a:pt x="1044552" y="6475597"/>
                </a:cubicBezTo>
                <a:lnTo>
                  <a:pt x="989061" y="6475597"/>
                </a:lnTo>
                <a:lnTo>
                  <a:pt x="989061" y="6450011"/>
                </a:lnTo>
                <a:lnTo>
                  <a:pt x="1035792" y="6450011"/>
                </a:lnTo>
                <a:cubicBezTo>
                  <a:pt x="1042448" y="6450011"/>
                  <a:pt x="1047871" y="6444798"/>
                  <a:pt x="1047871" y="6438180"/>
                </a:cubicBezTo>
                <a:cubicBezTo>
                  <a:pt x="1047871" y="6431570"/>
                  <a:pt x="1042448" y="6426174"/>
                  <a:pt x="1035792" y="6426174"/>
                </a:cubicBezTo>
                <a:lnTo>
                  <a:pt x="989061" y="6426174"/>
                </a:lnTo>
                <a:lnTo>
                  <a:pt x="989061" y="6401483"/>
                </a:lnTo>
                <a:lnTo>
                  <a:pt x="1043677" y="6401483"/>
                </a:lnTo>
                <a:cubicBezTo>
                  <a:pt x="1050329" y="6401483"/>
                  <a:pt x="1055752" y="6396256"/>
                  <a:pt x="1055752" y="6389642"/>
                </a:cubicBezTo>
                <a:cubicBezTo>
                  <a:pt x="1055752" y="6383042"/>
                  <a:pt x="1050329" y="6377645"/>
                  <a:pt x="1043677" y="6377645"/>
                </a:cubicBezTo>
                <a:close/>
                <a:moveTo>
                  <a:pt x="857741" y="6377645"/>
                </a:moveTo>
                <a:cubicBezTo>
                  <a:pt x="850208" y="6377645"/>
                  <a:pt x="844260" y="6383553"/>
                  <a:pt x="844260" y="6391032"/>
                </a:cubicBezTo>
                <a:lnTo>
                  <a:pt x="844260" y="6487068"/>
                </a:lnTo>
                <a:cubicBezTo>
                  <a:pt x="844260" y="6494548"/>
                  <a:pt x="850208" y="6500453"/>
                  <a:pt x="857741" y="6500453"/>
                </a:cubicBezTo>
                <a:cubicBezTo>
                  <a:pt x="865270" y="6500453"/>
                  <a:pt x="871218" y="6494549"/>
                  <a:pt x="871218" y="6487068"/>
                </a:cubicBezTo>
                <a:lnTo>
                  <a:pt x="871218" y="6460454"/>
                </a:lnTo>
                <a:lnTo>
                  <a:pt x="888658" y="6460454"/>
                </a:lnTo>
                <a:lnTo>
                  <a:pt x="916283" y="6493518"/>
                </a:lnTo>
                <a:cubicBezTo>
                  <a:pt x="919431" y="6497514"/>
                  <a:pt x="923454" y="6500453"/>
                  <a:pt x="929577" y="6500453"/>
                </a:cubicBezTo>
                <a:cubicBezTo>
                  <a:pt x="936063" y="6500453"/>
                  <a:pt x="942357" y="6495598"/>
                  <a:pt x="942357" y="6488115"/>
                </a:cubicBezTo>
                <a:cubicBezTo>
                  <a:pt x="942358" y="6483938"/>
                  <a:pt x="940611" y="6481161"/>
                  <a:pt x="937985" y="6477858"/>
                </a:cubicBezTo>
                <a:lnTo>
                  <a:pt x="917888" y="6455227"/>
                </a:lnTo>
                <a:cubicBezTo>
                  <a:pt x="934131" y="6447867"/>
                  <a:pt x="939670" y="6432030"/>
                  <a:pt x="939671" y="6417708"/>
                </a:cubicBezTo>
                <a:cubicBezTo>
                  <a:pt x="939671" y="6406380"/>
                  <a:pt x="934628" y="6396781"/>
                  <a:pt x="927809" y="6389982"/>
                </a:cubicBezTo>
                <a:cubicBezTo>
                  <a:pt x="919750" y="6381999"/>
                  <a:pt x="907673" y="6377645"/>
                  <a:pt x="892095" y="6377645"/>
                </a:cubicBezTo>
                <a:close/>
                <a:moveTo>
                  <a:pt x="614675" y="6377645"/>
                </a:moveTo>
                <a:cubicBezTo>
                  <a:pt x="607146" y="6377645"/>
                  <a:pt x="601199" y="6383553"/>
                  <a:pt x="601199" y="6391032"/>
                </a:cubicBezTo>
                <a:lnTo>
                  <a:pt x="601199" y="6486023"/>
                </a:lnTo>
                <a:cubicBezTo>
                  <a:pt x="601199" y="6493518"/>
                  <a:pt x="607146" y="6499422"/>
                  <a:pt x="614675" y="6499422"/>
                </a:cubicBezTo>
                <a:lnTo>
                  <a:pt x="683465" y="6499422"/>
                </a:lnTo>
                <a:cubicBezTo>
                  <a:pt x="690116" y="6499422"/>
                  <a:pt x="695551" y="6494204"/>
                  <a:pt x="695551" y="6487591"/>
                </a:cubicBezTo>
                <a:cubicBezTo>
                  <a:pt x="695551" y="6480981"/>
                  <a:pt x="690116" y="6475597"/>
                  <a:pt x="683465" y="6475597"/>
                </a:cubicBezTo>
                <a:lnTo>
                  <a:pt x="627985" y="6475597"/>
                </a:lnTo>
                <a:lnTo>
                  <a:pt x="627985" y="6450011"/>
                </a:lnTo>
                <a:lnTo>
                  <a:pt x="674718" y="6450011"/>
                </a:lnTo>
                <a:cubicBezTo>
                  <a:pt x="681364" y="6450011"/>
                  <a:pt x="686799" y="6444798"/>
                  <a:pt x="686799" y="6438180"/>
                </a:cubicBezTo>
                <a:cubicBezTo>
                  <a:pt x="686799" y="6431570"/>
                  <a:pt x="681364" y="6426174"/>
                  <a:pt x="674718" y="6426174"/>
                </a:cubicBezTo>
                <a:lnTo>
                  <a:pt x="627985" y="6426174"/>
                </a:lnTo>
                <a:lnTo>
                  <a:pt x="627985" y="6401483"/>
                </a:lnTo>
                <a:lnTo>
                  <a:pt x="682594" y="6401483"/>
                </a:lnTo>
                <a:cubicBezTo>
                  <a:pt x="689241" y="6401483"/>
                  <a:pt x="694674" y="6396256"/>
                  <a:pt x="694674" y="6389642"/>
                </a:cubicBezTo>
                <a:cubicBezTo>
                  <a:pt x="694674" y="6383042"/>
                  <a:pt x="689241" y="6377645"/>
                  <a:pt x="682594" y="6377645"/>
                </a:cubicBezTo>
                <a:close/>
                <a:moveTo>
                  <a:pt x="1084032" y="6376596"/>
                </a:moveTo>
                <a:cubicBezTo>
                  <a:pt x="1076330" y="6376596"/>
                  <a:pt x="1070728" y="6382334"/>
                  <a:pt x="1070728" y="6389815"/>
                </a:cubicBezTo>
                <a:cubicBezTo>
                  <a:pt x="1070728" y="6393639"/>
                  <a:pt x="1072648" y="6397126"/>
                  <a:pt x="1074752" y="6399743"/>
                </a:cubicBezTo>
                <a:lnTo>
                  <a:pt x="1105916" y="6437490"/>
                </a:lnTo>
                <a:lnTo>
                  <a:pt x="1072832" y="6477859"/>
                </a:lnTo>
                <a:cubicBezTo>
                  <a:pt x="1070208" y="6481162"/>
                  <a:pt x="1068808" y="6484296"/>
                  <a:pt x="1068804" y="6488116"/>
                </a:cubicBezTo>
                <a:cubicBezTo>
                  <a:pt x="1068804" y="6495771"/>
                  <a:pt x="1075106" y="6500453"/>
                  <a:pt x="1081058" y="6500453"/>
                </a:cubicBezTo>
                <a:cubicBezTo>
                  <a:pt x="1087006" y="6500453"/>
                  <a:pt x="1090509" y="6497851"/>
                  <a:pt x="1094178" y="6493158"/>
                </a:cubicBezTo>
                <a:lnTo>
                  <a:pt x="1122547" y="6456446"/>
                </a:lnTo>
                <a:lnTo>
                  <a:pt x="1151245" y="6493840"/>
                </a:lnTo>
                <a:cubicBezTo>
                  <a:pt x="1154577" y="6498202"/>
                  <a:pt x="1157901" y="6500453"/>
                  <a:pt x="1163682" y="6500453"/>
                </a:cubicBezTo>
                <a:cubicBezTo>
                  <a:pt x="1171375" y="6500453"/>
                  <a:pt x="1176985" y="6494721"/>
                  <a:pt x="1176985" y="6487245"/>
                </a:cubicBezTo>
                <a:cubicBezTo>
                  <a:pt x="1176985" y="6483414"/>
                  <a:pt x="1175061" y="6479930"/>
                  <a:pt x="1172953" y="6477326"/>
                </a:cubicBezTo>
                <a:lnTo>
                  <a:pt x="1140045" y="6437142"/>
                </a:lnTo>
                <a:lnTo>
                  <a:pt x="1171204" y="6399218"/>
                </a:lnTo>
                <a:cubicBezTo>
                  <a:pt x="1173832" y="6395908"/>
                  <a:pt x="1175232" y="6392785"/>
                  <a:pt x="1175232" y="6388948"/>
                </a:cubicBezTo>
                <a:cubicBezTo>
                  <a:pt x="1175232" y="6381285"/>
                  <a:pt x="1168930" y="6376596"/>
                  <a:pt x="1162974" y="6376596"/>
                </a:cubicBezTo>
                <a:cubicBezTo>
                  <a:pt x="1157030" y="6376596"/>
                  <a:pt x="1153527" y="6379213"/>
                  <a:pt x="1149854" y="6383906"/>
                </a:cubicBezTo>
                <a:lnTo>
                  <a:pt x="1123242" y="6418698"/>
                </a:lnTo>
                <a:lnTo>
                  <a:pt x="1096461" y="6383214"/>
                </a:lnTo>
                <a:cubicBezTo>
                  <a:pt x="1093137" y="6378861"/>
                  <a:pt x="1089813" y="6376596"/>
                  <a:pt x="1084032" y="6376596"/>
                </a:cubicBezTo>
                <a:close/>
                <a:moveTo>
                  <a:pt x="726895" y="6376596"/>
                </a:moveTo>
                <a:cubicBezTo>
                  <a:pt x="719373" y="6376596"/>
                  <a:pt x="713418" y="6382520"/>
                  <a:pt x="713418" y="6389983"/>
                </a:cubicBezTo>
                <a:lnTo>
                  <a:pt x="713418" y="6447235"/>
                </a:lnTo>
                <a:cubicBezTo>
                  <a:pt x="713418" y="6483068"/>
                  <a:pt x="733544" y="6501335"/>
                  <a:pt x="766460" y="6501335"/>
                </a:cubicBezTo>
                <a:cubicBezTo>
                  <a:pt x="799369" y="6501335"/>
                  <a:pt x="820190" y="6483247"/>
                  <a:pt x="820190" y="6446364"/>
                </a:cubicBezTo>
                <a:lnTo>
                  <a:pt x="820190" y="6389983"/>
                </a:lnTo>
                <a:cubicBezTo>
                  <a:pt x="820190" y="6382519"/>
                  <a:pt x="814240" y="6376596"/>
                  <a:pt x="806715" y="6376596"/>
                </a:cubicBezTo>
                <a:cubicBezTo>
                  <a:pt x="799194" y="6376596"/>
                  <a:pt x="793233" y="6382520"/>
                  <a:pt x="793233" y="6389983"/>
                </a:cubicBezTo>
                <a:lnTo>
                  <a:pt x="793233" y="6447403"/>
                </a:lnTo>
                <a:cubicBezTo>
                  <a:pt x="793233" y="6466715"/>
                  <a:pt x="783258" y="6476628"/>
                  <a:pt x="766806" y="6476628"/>
                </a:cubicBezTo>
                <a:cubicBezTo>
                  <a:pt x="750357" y="6476628"/>
                  <a:pt x="740371" y="6466358"/>
                  <a:pt x="740371" y="6446530"/>
                </a:cubicBezTo>
                <a:lnTo>
                  <a:pt x="740371" y="6389983"/>
                </a:lnTo>
                <a:cubicBezTo>
                  <a:pt x="740371" y="6382519"/>
                  <a:pt x="734418" y="6376596"/>
                  <a:pt x="726895" y="6376596"/>
                </a:cubicBezTo>
                <a:close/>
                <a:moveTo>
                  <a:pt x="10452098" y="0"/>
                </a:moveTo>
                <a:lnTo>
                  <a:pt x="11999911" y="0"/>
                </a:lnTo>
                <a:lnTo>
                  <a:pt x="11999911" y="1"/>
                </a:lnTo>
                <a:lnTo>
                  <a:pt x="12191993" y="1"/>
                </a:lnTo>
                <a:lnTo>
                  <a:pt x="12191993" y="6857997"/>
                </a:lnTo>
                <a:lnTo>
                  <a:pt x="0" y="6857997"/>
                </a:lnTo>
                <a:lnTo>
                  <a:pt x="0" y="1"/>
                </a:lnTo>
                <a:lnTo>
                  <a:pt x="10452098" y="1"/>
                </a:lnTo>
                <a:close/>
              </a:path>
            </a:pathLst>
          </a:custGeom>
          <a:solidFill>
            <a:srgbClr val="666666"/>
          </a:solidFill>
          <a:ln w="0">
            <a:solidFill>
              <a:schemeClr val="accent4">
                <a:alpha val="0"/>
              </a:schemeClr>
            </a:solidFill>
          </a:ln>
        </p:spPr>
        <p:txBody>
          <a:bodyPr wrap="square" anchor="ctr">
            <a:noAutofit/>
          </a:bodyPr>
          <a:lstStyle>
            <a:lvl1pPr algn="ctr" rtl="0">
              <a:defRPr sz="1400"/>
            </a:lvl1pPr>
          </a:lstStyle>
          <a:p>
            <a:r>
              <a:rPr lang="en-US" noProof="0" dirty="0"/>
              <a:t> 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780820-289F-4789-9D44-E16EE5CFF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7375" y="2314701"/>
            <a:ext cx="7272338" cy="790263"/>
          </a:xfrm>
        </p:spPr>
        <p:txBody>
          <a:bodyPr/>
          <a:lstStyle>
            <a:lvl1pPr rtl="0">
              <a:lnSpc>
                <a:spcPct val="110000"/>
              </a:lnSpc>
              <a:spcAft>
                <a:spcPts val="0"/>
              </a:spcAft>
              <a:defRPr sz="2000" b="0">
                <a:solidFill>
                  <a:schemeClr val="bg1"/>
                </a:solidFill>
              </a:defRPr>
            </a:lvl1pPr>
            <a:lvl2pPr marL="0" indent="0" rtl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10000"/>
              </a:lnSpc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ource</a:t>
            </a:r>
          </a:p>
          <a:p>
            <a:pPr lvl="1"/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172601-F2D8-4756-9014-EE2AA98B1EF3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4369DC6-CAD9-4B14-8D29-FECBF72080C9}" type="datetime1">
              <a:rPr lang="en-US"/>
              <a:t>8/3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5843BC-3D7B-43A3-B54D-54DC4DCCD7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A860D54-D418-4404-89D5-BA046687C8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6" y="836712"/>
            <a:ext cx="7272337" cy="1476164"/>
          </a:xfrm>
        </p:spPr>
        <p:txBody>
          <a:bodyPr vert="horz"/>
          <a:lstStyle>
            <a:lvl1pPr rtl="0">
              <a:lnSpc>
                <a:spcPct val="100000"/>
              </a:lnSpc>
              <a:defRPr sz="4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“Insert Quote (max. 43 </a:t>
            </a:r>
            <a:r>
              <a:rPr lang="en-US" noProof="0" dirty="0" err="1"/>
              <a:t>pt</a:t>
            </a:r>
            <a:r>
              <a:rPr lang="en-US" noProof="0" dirty="0"/>
              <a:t>, min 28 </a:t>
            </a:r>
            <a:r>
              <a:rPr lang="en-US" noProof="0" dirty="0" err="1"/>
              <a:t>pt</a:t>
            </a:r>
            <a:r>
              <a:rPr lang="en-US" noProof="0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28654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02DBC4-C0BB-4A5F-9595-2743CE037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87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0780820-289F-4789-9D44-E16EE5CFF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7375" y="2312876"/>
            <a:ext cx="7272338" cy="792088"/>
          </a:xfrm>
        </p:spPr>
        <p:txBody>
          <a:bodyPr/>
          <a:lstStyle>
            <a:lvl1pPr rtl="0">
              <a:lnSpc>
                <a:spcPct val="100000"/>
              </a:lnSpc>
              <a:spcAft>
                <a:spcPts val="0"/>
              </a:spcAft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Sour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BFA5-F1DE-439D-8292-1985FFB11ECB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3738F95D-E335-4C4B-9869-4DDBEEE47919}" type="datetime1">
              <a:rPr lang="en-US"/>
              <a:t>8/31/2022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01AB10-363B-4F98-9D35-518F02749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11539C-F916-47A8-B92C-3F65C504D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6" y="836712"/>
            <a:ext cx="7272337" cy="1476164"/>
          </a:xfrm>
        </p:spPr>
        <p:txBody>
          <a:bodyPr vert="horz"/>
          <a:lstStyle>
            <a:lvl1pPr rtl="0">
              <a:lnSpc>
                <a:spcPct val="100000"/>
              </a:lnSpc>
              <a:defRPr sz="4300"/>
            </a:lvl1pPr>
          </a:lstStyle>
          <a:p>
            <a:pPr lvl="0"/>
            <a:r>
              <a:rPr lang="en-US" noProof="0" dirty="0"/>
              <a:t>“Insert Quote (max. 43 </a:t>
            </a:r>
            <a:r>
              <a:rPr lang="en-US" noProof="0" dirty="0" err="1"/>
              <a:t>pt</a:t>
            </a:r>
            <a:r>
              <a:rPr lang="en-US" noProof="0" dirty="0"/>
              <a:t>, min 28 </a:t>
            </a:r>
            <a:r>
              <a:rPr lang="en-US" noProof="0" dirty="0" err="1"/>
              <a:t>pt</a:t>
            </a:r>
            <a:r>
              <a:rPr lang="en-US" noProof="0" dirty="0"/>
              <a:t>)”</a:t>
            </a:r>
          </a:p>
        </p:txBody>
      </p:sp>
    </p:spTree>
    <p:extLst>
      <p:ext uri="{BB962C8B-B14F-4D97-AF65-F5344CB8AC3E}">
        <p14:creationId xmlns:p14="http://schemas.microsoft.com/office/powerpoint/2010/main" val="931179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57B1BB-A668-4594-A395-648C057E42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5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Insert Slide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2FDBA4-6CA2-4F8A-9360-55639C5C5F6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87376" y="1916113"/>
            <a:ext cx="11017250" cy="42132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3FF9AC7-EBBE-4495-9469-91BA126FC73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64E4E50-649A-4382-919E-7BEF182EEEDC}" type="datetime1">
              <a:rPr lang="en-US"/>
              <a:t>8/31/2022</a:t>
            </a:fld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BC12CC-1E69-4455-A765-9ECE97FA3A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786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| Blu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807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E2C57399-C005-4124-AF4A-6777815D9B16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6956DC9-6DE9-4396-89B0-F5352960F2C8}"/>
              </a:ext>
            </a:extLst>
          </p:cNvPr>
          <p:cNvGrpSpPr>
            <a:grpSpLocks noChangeAspect="1"/>
          </p:cNvGrpSpPr>
          <p:nvPr/>
        </p:nvGrpSpPr>
        <p:grpSpPr bwMode="gray">
          <a:xfrm flipV="1">
            <a:off x="8799025" y="2737959"/>
            <a:ext cx="3392975" cy="4120041"/>
            <a:chOff x="5807968" y="2191091"/>
            <a:chExt cx="2667000" cy="32385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7A29E38-C4B8-431B-9150-1E48EFD043DC}"/>
                </a:ext>
              </a:extLst>
            </p:cNvPr>
            <p:cNvSpPr/>
            <p:nvPr/>
          </p:nvSpPr>
          <p:spPr bwMode="gray">
            <a:xfrm>
              <a:off x="6760468" y="2572091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93DB171A-DE9B-42E3-8B9B-F2C31B64BB3B}"/>
                </a:ext>
              </a:extLst>
            </p:cNvPr>
            <p:cNvSpPr/>
            <p:nvPr/>
          </p:nvSpPr>
          <p:spPr bwMode="gray">
            <a:xfrm>
              <a:off x="5807968" y="2191091"/>
              <a:ext cx="952500" cy="381000"/>
            </a:xfrm>
            <a:custGeom>
              <a:avLst/>
              <a:gdLst>
                <a:gd name="connsiteX0" fmla="*/ 0 w 952500"/>
                <a:gd name="connsiteY0" fmla="*/ 0 h 381000"/>
                <a:gd name="connsiteX1" fmla="*/ 952500 w 952500"/>
                <a:gd name="connsiteY1" fmla="*/ 0 h 381000"/>
                <a:gd name="connsiteX2" fmla="*/ 952500 w 952500"/>
                <a:gd name="connsiteY2" fmla="*/ 381000 h 381000"/>
                <a:gd name="connsiteX3" fmla="*/ 0 w 952500"/>
                <a:gd name="connsiteY3" fmla="*/ 38100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381000">
                  <a:moveTo>
                    <a:pt x="0" y="0"/>
                  </a:moveTo>
                  <a:lnTo>
                    <a:pt x="952500" y="0"/>
                  </a:lnTo>
                  <a:lnTo>
                    <a:pt x="952500" y="381000"/>
                  </a:lnTo>
                  <a:lnTo>
                    <a:pt x="0" y="3810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E7C7148-B187-412B-BE3E-00C968F6C1F5}"/>
                </a:ext>
              </a:extLst>
            </p:cNvPr>
            <p:cNvSpPr/>
            <p:nvPr/>
          </p:nvSpPr>
          <p:spPr bwMode="gray">
            <a:xfrm>
              <a:off x="5807968" y="3524591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952500 w 952500"/>
                <a:gd name="connsiteY1" fmla="*/ 0 h 1905000"/>
                <a:gd name="connsiteX2" fmla="*/ 952500 w 952500"/>
                <a:gd name="connsiteY2" fmla="*/ 1905000 h 1905000"/>
                <a:gd name="connsiteX3" fmla="*/ 0 w 952500"/>
                <a:gd name="connsiteY3" fmla="*/ 19050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952500" y="0"/>
                  </a:lnTo>
                  <a:lnTo>
                    <a:pt x="952500" y="1905000"/>
                  </a:lnTo>
                  <a:lnTo>
                    <a:pt x="0" y="1905000"/>
                  </a:ln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8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E9CB61C-B448-43DF-B262-10BB8930606D}"/>
                </a:ext>
              </a:extLst>
            </p:cNvPr>
            <p:cNvSpPr/>
            <p:nvPr/>
          </p:nvSpPr>
          <p:spPr bwMode="gray">
            <a:xfrm>
              <a:off x="7712968" y="2191091"/>
              <a:ext cx="762000" cy="1333500"/>
            </a:xfrm>
            <a:custGeom>
              <a:avLst/>
              <a:gdLst>
                <a:gd name="connsiteX0" fmla="*/ 762000 w 762000"/>
                <a:gd name="connsiteY0" fmla="*/ 0 h 1333500"/>
                <a:gd name="connsiteX1" fmla="*/ 0 w 762000"/>
                <a:gd name="connsiteY1" fmla="*/ 0 h 1333500"/>
                <a:gd name="connsiteX2" fmla="*/ 0 w 762000"/>
                <a:gd name="connsiteY2" fmla="*/ 1333500 h 1333500"/>
                <a:gd name="connsiteX3" fmla="*/ 762000 w 762000"/>
                <a:gd name="connsiteY3" fmla="*/ 952595 h 1333500"/>
                <a:gd name="connsiteX4" fmla="*/ 762000 w 762000"/>
                <a:gd name="connsiteY4" fmla="*/ 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0" h="1333500">
                  <a:moveTo>
                    <a:pt x="762000" y="0"/>
                  </a:moveTo>
                  <a:lnTo>
                    <a:pt x="0" y="0"/>
                  </a:lnTo>
                  <a:lnTo>
                    <a:pt x="0" y="1333500"/>
                  </a:lnTo>
                  <a:cubicBezTo>
                    <a:pt x="311563" y="1333500"/>
                    <a:pt x="588264" y="1183862"/>
                    <a:pt x="762000" y="952595"/>
                  </a:cubicBezTo>
                  <a:lnTo>
                    <a:pt x="7620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A55E9B2-921C-4329-B985-554A9C3767F2}"/>
                </a:ext>
              </a:extLst>
            </p:cNvPr>
            <p:cNvSpPr/>
            <p:nvPr/>
          </p:nvSpPr>
          <p:spPr bwMode="gray">
            <a:xfrm>
              <a:off x="7712968" y="4667591"/>
              <a:ext cx="762000" cy="762000"/>
            </a:xfrm>
            <a:custGeom>
              <a:avLst/>
              <a:gdLst>
                <a:gd name="connsiteX0" fmla="*/ 0 w 762000"/>
                <a:gd name="connsiteY0" fmla="*/ 762000 h 762000"/>
                <a:gd name="connsiteX1" fmla="*/ 762000 w 762000"/>
                <a:gd name="connsiteY1" fmla="*/ 762000 h 762000"/>
                <a:gd name="connsiteX2" fmla="*/ 762000 w 762000"/>
                <a:gd name="connsiteY2" fmla="*/ 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0" h="762000">
                  <a:moveTo>
                    <a:pt x="0" y="762000"/>
                  </a:moveTo>
                  <a:lnTo>
                    <a:pt x="762000" y="762000"/>
                  </a:lnTo>
                  <a:lnTo>
                    <a:pt x="7620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F7D47231-D549-4315-B04C-12DC4848D802}"/>
                </a:ext>
              </a:extLst>
            </p:cNvPr>
            <p:cNvSpPr/>
            <p:nvPr/>
          </p:nvSpPr>
          <p:spPr bwMode="gray">
            <a:xfrm>
              <a:off x="6760468" y="3524591"/>
              <a:ext cx="1714500" cy="1905000"/>
            </a:xfrm>
            <a:custGeom>
              <a:avLst/>
              <a:gdLst>
                <a:gd name="connsiteX0" fmla="*/ 1714500 w 1714500"/>
                <a:gd name="connsiteY0" fmla="*/ 0 h 1905000"/>
                <a:gd name="connsiteX1" fmla="*/ 952500 w 1714500"/>
                <a:gd name="connsiteY1" fmla="*/ 0 h 1905000"/>
                <a:gd name="connsiteX2" fmla="*/ 0 w 1714500"/>
                <a:gd name="connsiteY2" fmla="*/ 952500 h 1905000"/>
                <a:gd name="connsiteX3" fmla="*/ 0 w 1714500"/>
                <a:gd name="connsiteY3" fmla="*/ 1905000 h 1905000"/>
                <a:gd name="connsiteX4" fmla="*/ 1714500 w 1714500"/>
                <a:gd name="connsiteY4" fmla="*/ 190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0" h="1905000">
                  <a:moveTo>
                    <a:pt x="1714500" y="0"/>
                  </a:moveTo>
                  <a:lnTo>
                    <a:pt x="952500" y="0"/>
                  </a:lnTo>
                  <a:lnTo>
                    <a:pt x="0" y="952500"/>
                  </a:lnTo>
                  <a:lnTo>
                    <a:pt x="0" y="1905000"/>
                  </a:lnTo>
                  <a:lnTo>
                    <a:pt x="1714500" y="190500"/>
                  </a:ln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80000">
                  <a:srgbClr val="00CE7D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2A3C5AB-0D7E-4DDA-8B55-39C3B63BC1B0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8DA3440-973E-4634-A018-03CA81D773ED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4E4A314E-5DD9-4E53-9FCE-30EFDF26ADB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5482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4F43753-18C3-4625-BC53-9EB3A2A15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31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498EFB6-F28B-4075-959C-D80C299D8C5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5" y="1916113"/>
            <a:ext cx="5400675" cy="42132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ED1B5D5A-F9B8-4256-8DD8-396956155A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6203950" y="1916113"/>
            <a:ext cx="5400675" cy="42132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1A8501-2127-4A03-A204-7BE81284643B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0C0BFF69-EB17-4809-BB82-0194BA9D6999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294DA3-4BD3-4274-9371-47EB990F8D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556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1311FA-E808-4137-BAF5-22B3BCE02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456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69D571FC-BA96-4CAF-A727-A635D457602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587375" y="1916113"/>
            <a:ext cx="3529013" cy="4213225"/>
          </a:xfrm>
        </p:spPr>
        <p:txBody>
          <a:bodyPr/>
          <a:lstStyle>
            <a:lvl1pPr rtl="0">
              <a:defRPr sz="1600"/>
            </a:lvl1pPr>
            <a:lvl2pPr marL="180000" indent="-180000"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05B939F-D767-408F-A43E-2B6FD79A4DD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4332288" y="1916113"/>
            <a:ext cx="3529013" cy="4213225"/>
          </a:xfrm>
        </p:spPr>
        <p:txBody>
          <a:bodyPr/>
          <a:lstStyle>
            <a:lvl1pPr rtl="0">
              <a:defRPr sz="1600"/>
            </a:lvl1pPr>
            <a:lvl2pPr marL="180000" indent="-180000"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BA6ACEF6-A2C9-4708-BF76-02325C9F1C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8075613" y="1916113"/>
            <a:ext cx="3529013" cy="4213225"/>
          </a:xfrm>
        </p:spPr>
        <p:txBody>
          <a:bodyPr/>
          <a:lstStyle>
            <a:lvl1pPr rtl="0">
              <a:defRPr sz="1600"/>
            </a:lvl1pPr>
            <a:lvl2pPr marL="180000" indent="-180000"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1200"/>
            </a:lvl6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5D0483-414C-4F51-843F-44544332E387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2427A404-555B-4B75-8807-94074219B747}" type="datetime1">
              <a:rPr lang="en-US"/>
              <a:t>8/3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929E3-53FE-4AD5-9603-46F552CACE1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72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2439FF-4DEB-43F1-8320-3F27326B71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24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6" y="368301"/>
            <a:ext cx="5400674" cy="46689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</a:t>
            </a:r>
            <a:r>
              <a:rPr lang="en-US" noProof="0" dirty="0"/>
              <a:t>to</a:t>
            </a:r>
            <a:r>
              <a:rPr lang="en-US" dirty="0"/>
              <a:t>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2FDBA4-6CA2-4F8A-9360-55639C5C5F6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87377" y="1916113"/>
            <a:ext cx="5400673" cy="42132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0D65DE6-22B8-49FA-AE8B-AB79B853173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03950" y="0"/>
            <a:ext cx="5988050" cy="6129339"/>
          </a:xfrm>
          <a:prstGeom prst="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672B7DE-4CE2-48D8-9E83-B1655F427CE5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9FAA657-B6BA-412C-91F8-FCE8C2FDE540}" type="datetime1">
              <a:rPr lang="en-US"/>
              <a:t>8/31/2022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6D15E-D4F6-4294-A987-444ED498956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0667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8B15F6-089F-4F86-9946-3C24CA7D7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74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1B5917-CBB4-4162-8067-EF80AC06BE5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B1634300-2CD8-45AE-BCEA-427EDB7F03D3}" type="datetime1">
              <a:rPr lang="en-US"/>
              <a:t>8/31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3E2A66-7F5E-4326-9BBB-FB60EEAEA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192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03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2593" userDrawn="1">
          <p15:clr>
            <a:srgbClr val="FBAE40"/>
          </p15:clr>
        </p15:guide>
        <p15:guide id="4" pos="2729" userDrawn="1">
          <p15:clr>
            <a:srgbClr val="FBAE40"/>
          </p15:clr>
        </p15:guide>
        <p15:guide id="5" pos="3772" userDrawn="1">
          <p15:clr>
            <a:srgbClr val="FBAE40"/>
          </p15:clr>
        </p15:guide>
        <p15:guide id="6" pos="3908" userDrawn="1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087" userDrawn="1">
          <p15:clr>
            <a:srgbClr val="FBAE40"/>
          </p15:clr>
        </p15:guide>
        <p15:guide id="9" pos="5541" userDrawn="1">
          <p15:clr>
            <a:srgbClr val="FBAE40"/>
          </p15:clr>
        </p15:guide>
        <p15:guide id="10" pos="567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51D97F9-74F8-4B80-90E7-20B3D14908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02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540A6E-44B3-452A-8635-81299E742E9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8754DF55-2CEF-4204-AD12-3782858F190E}" type="datetime1">
              <a:rPr lang="en-US"/>
              <a:t>8/31/2022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49F892-46C7-44B5-8A70-4419895B07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5642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|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573CF97-BCE0-4276-B8FE-BC8ED691A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435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0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IO_VALID_LAYOUT">
            <a:extLst>
              <a:ext uri="{FF2B5EF4-FFF2-40B4-BE49-F238E27FC236}">
                <a16:creationId xmlns:a16="http://schemas.microsoft.com/office/drawing/2014/main" id="{5AA293F3-CFE1-47F6-B8BD-3D9D0C7A6E16}"/>
              </a:ext>
            </a:extLst>
          </p:cNvPr>
          <p:cNvSpPr/>
          <p:nvPr/>
        </p:nvSpPr>
        <p:spPr bwMode="gray">
          <a:xfrm>
            <a:off x="11744853" y="6586858"/>
            <a:ext cx="447147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BE625D3-CADF-46B6-83C2-5B8A0EFA38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601200" y="6376596"/>
            <a:ext cx="576000" cy="12467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04C88F-9BBE-484C-908A-A261CD9F5F51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D7B0495E-59C9-46FD-A0F7-B6466C45E738}" type="datetime1">
              <a:rPr lang="en-US"/>
              <a:t>8/31/2022</a:t>
            </a:fld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A877C47-CE57-429E-A5FB-76313E664A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380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1" orient="horz" pos="459">
          <p15:clr>
            <a:srgbClr val="F26B43"/>
          </p15:clr>
        </p15:guide>
        <p15:guide id="12" orient="horz" pos="386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 | Big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EA7D5F-227A-494A-AE16-37B3633D6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42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29C4A31-57DD-4A63-A985-356DA24CCE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5627688" cy="6129338"/>
          </a:xfrm>
          <a:solidFill>
            <a:srgbClr val="666666"/>
          </a:solidFill>
        </p:spPr>
        <p:txBody>
          <a:bodyPr anchor="ctr"/>
          <a:lstStyle>
            <a:lvl1pPr algn="ctr" rtl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1D6410BD-4A55-4357-845E-282A5C95EF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627688" y="0"/>
            <a:ext cx="5976937" cy="6129338"/>
          </a:xfrm>
          <a:solidFill>
            <a:srgbClr val="AFAFAF"/>
          </a:solidFill>
        </p:spPr>
        <p:txBody>
          <a:bodyPr anchor="ctr"/>
          <a:lstStyle>
            <a:lvl1pPr algn="ctr" rtl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D4666-616B-4A5C-8DA3-25B2D5366E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7375" y="1484313"/>
            <a:ext cx="2664000" cy="2160587"/>
          </a:xfrm>
        </p:spPr>
        <p:txBody>
          <a:bodyPr/>
          <a:lstStyle>
            <a:lvl1pPr marL="0" indent="0" rtl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>
                <a:solidFill>
                  <a:schemeClr val="bg1"/>
                </a:solidFill>
              </a:defRPr>
            </a:lvl1pPr>
            <a:lvl2pPr marL="0" indent="0" rtl="0">
              <a:lnSpc>
                <a:spcPct val="110000"/>
              </a:lnSpc>
              <a:spcAft>
                <a:spcPts val="0"/>
              </a:spcAft>
              <a:buNone/>
              <a:tabLst>
                <a:tab pos="449263" algn="l"/>
              </a:tabLst>
              <a:defRPr sz="1400" b="1">
                <a:solidFill>
                  <a:schemeClr val="bg1"/>
                </a:solidFill>
              </a:defRPr>
            </a:lvl2pPr>
            <a:lvl3pPr marL="0" indent="0" rtl="0">
              <a:lnSpc>
                <a:spcPct val="110000"/>
              </a:lnSpc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5pPr>
            <a:lvl6pPr marL="0" indent="0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6pPr>
            <a:lvl7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8pPr>
            <a:lvl9pPr marL="0" indent="0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2"/>
            <a:endParaRPr lang="en-US" noProof="0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5D08A6FF-66CD-491D-8B19-37E7A221F4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0" y="1484313"/>
            <a:ext cx="2664000" cy="2160587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>
                <a:solidFill>
                  <a:schemeClr val="bg1"/>
                </a:solidFill>
              </a:defRPr>
            </a:lvl1pPr>
            <a:lvl2pPr marL="0" indent="0" rtl="0">
              <a:spcAft>
                <a:spcPts val="0"/>
              </a:spcAft>
              <a:buNone/>
              <a:tabLst>
                <a:tab pos="449263" algn="l"/>
              </a:tabLst>
              <a:defRPr sz="1400" b="1">
                <a:solidFill>
                  <a:schemeClr val="bg1"/>
                </a:solidFill>
              </a:defRPr>
            </a:lvl2pPr>
            <a:lvl3pPr marL="0" indent="0" rtl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5pPr>
            <a:lvl6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8pPr>
            <a:lvl9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2"/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268E5-76E9-487E-9024-A97441E2BB6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94D8AE47-1C42-4B39-B8D0-E4D4F1E09C15}" type="datetime1">
              <a:rPr lang="en-US"/>
              <a:t>8/31/2022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A4B27C-A892-4022-8BEF-3D68BA6C44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38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49">
          <p15:clr>
            <a:srgbClr val="FBAE40"/>
          </p15:clr>
        </p15:guide>
        <p15:guide id="2" pos="3545">
          <p15:clr>
            <a:srgbClr val="FBAE40"/>
          </p15:clr>
        </p15:guide>
        <p15:guide id="3" pos="5360">
          <p15:clr>
            <a:srgbClr val="FBAE40"/>
          </p15:clr>
        </p15:guide>
        <p15:guide id="5" orient="horz" pos="229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kts |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6FA91EE-678A-421A-AC2F-568888F5D5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55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8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FFA6D0-AB8A-4F44-9727-A1CE86F10C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8FD4666-616B-4A5C-8DA3-25B2D5366E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892424" y="1484313"/>
            <a:ext cx="2664000" cy="2160587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/>
            </a:lvl1pPr>
            <a:lvl2pPr marL="0" indent="0" rtl="0">
              <a:spcAft>
                <a:spcPts val="0"/>
              </a:spcAft>
              <a:buNone/>
              <a:tabLst>
                <a:tab pos="449263" algn="l"/>
              </a:tabLst>
              <a:defRPr sz="1400" b="1"/>
            </a:lvl2pPr>
            <a:lvl3pPr marL="0" indent="0" rtl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5pPr>
            <a:lvl6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8pPr>
            <a:lvl9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2"/>
            <a:endParaRPr lang="en-US" noProof="0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29C4A31-57DD-4A63-A985-356DA24CCE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87374" y="1484313"/>
            <a:ext cx="1872221" cy="2160587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A95A97E-1E87-4F79-A043-06CBF137AAB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6180" y="4437112"/>
            <a:ext cx="2420888" cy="2420888"/>
            <a:chOff x="7378960" y="4000500"/>
            <a:chExt cx="2857500" cy="2857500"/>
          </a:xfrm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EB79B26-1FBB-479D-8E44-92841E4D7A6D}"/>
                </a:ext>
              </a:extLst>
            </p:cNvPr>
            <p:cNvSpPr/>
            <p:nvPr/>
          </p:nvSpPr>
          <p:spPr bwMode="gray">
            <a:xfrm>
              <a:off x="9283960" y="5905500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90B509A-F979-4F50-9148-2866300B9974}"/>
                </a:ext>
              </a:extLst>
            </p:cNvPr>
            <p:cNvSpPr/>
            <p:nvPr/>
          </p:nvSpPr>
          <p:spPr bwMode="gray">
            <a:xfrm>
              <a:off x="7378960" y="4953000"/>
              <a:ext cx="1905000" cy="1905000"/>
            </a:xfrm>
            <a:custGeom>
              <a:avLst/>
              <a:gdLst>
                <a:gd name="connsiteX0" fmla="*/ 952500 w 1905000"/>
                <a:gd name="connsiteY0" fmla="*/ 95250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  <a:gd name="connsiteX4" fmla="*/ 1905000 w 1905000"/>
                <a:gd name="connsiteY4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0" h="1905000">
                  <a:moveTo>
                    <a:pt x="952500" y="95250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lnTo>
                    <a:pt x="1905000" y="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1039803-5438-4B81-BE01-7A4EED98821A}"/>
                </a:ext>
              </a:extLst>
            </p:cNvPr>
            <p:cNvSpPr/>
            <p:nvPr/>
          </p:nvSpPr>
          <p:spPr bwMode="gray">
            <a:xfrm>
              <a:off x="8331460" y="4000500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1905000 h 1905000"/>
                <a:gd name="connsiteX2" fmla="*/ 952500 w 952500"/>
                <a:gd name="connsiteY2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1905000"/>
                  </a:lnTo>
                  <a:lnTo>
                    <a:pt x="95250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5D08A6FF-66CD-491D-8B19-37E7A221F4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510028" y="1484313"/>
            <a:ext cx="2664000" cy="2160587"/>
          </a:xfrm>
        </p:spPr>
        <p:txBody>
          <a:bodyPr/>
          <a:lstStyle>
            <a:lvl1pPr marL="0" indent="0" rtl="0">
              <a:spcAft>
                <a:spcPts val="0"/>
              </a:spcAft>
              <a:buFont typeface="Arial" panose="020B0604020202020204" pitchFamily="34" charset="0"/>
              <a:buNone/>
              <a:tabLst>
                <a:tab pos="449263" algn="l"/>
              </a:tabLst>
              <a:defRPr sz="1400"/>
            </a:lvl1pPr>
            <a:lvl2pPr marL="0" indent="0" rtl="0">
              <a:spcAft>
                <a:spcPts val="0"/>
              </a:spcAft>
              <a:buNone/>
              <a:tabLst>
                <a:tab pos="449263" algn="l"/>
              </a:tabLst>
              <a:defRPr sz="1400" b="1"/>
            </a:lvl2pPr>
            <a:lvl3pPr marL="0" indent="0" rtl="0">
              <a:spcAft>
                <a:spcPts val="0"/>
              </a:spcAft>
              <a:buNone/>
              <a:tabLst>
                <a:tab pos="449263" algn="l"/>
              </a:tabLst>
              <a:defRPr sz="1400">
                <a:solidFill>
                  <a:schemeClr val="tx2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4pPr>
            <a:lvl5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5pPr>
            <a:lvl6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7pPr>
            <a:lvl8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8pPr>
            <a:lvl9pPr marL="0" indent="0"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2"/>
            <a:endParaRPr lang="en-US" noProof="0" dirty="0"/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1D6410BD-4A55-4357-845E-282A5C95EF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04978" y="1484313"/>
            <a:ext cx="1872221" cy="2160587"/>
          </a:xfrm>
          <a:solidFill>
            <a:schemeClr val="bg2">
              <a:lumMod val="50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D2422E-C4CD-4A3A-B69D-25D6B4463A3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977CDD0B-14FD-4EAC-A212-D2E624FF0E1A}" type="datetime1">
              <a:rPr lang="en-US"/>
              <a:t>8/31/2022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0EBEF7-6725-4947-A407-42CDE302FD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24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49">
          <p15:clr>
            <a:srgbClr val="FBAE40"/>
          </p15:clr>
        </p15:guide>
        <p15:guide id="2" pos="1822">
          <p15:clr>
            <a:srgbClr val="FBAE40"/>
          </p15:clr>
        </p15:guide>
        <p15:guide id="3" pos="5360">
          <p15:clr>
            <a:srgbClr val="FBAE40"/>
          </p15:clr>
        </p15:guide>
        <p15:guide id="5" orient="horz" pos="229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| Blue">
    <p:bg bwMode="auto"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52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2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noProof="0" dirty="0"/>
              <a:t>Insert Contact Data</a:t>
            </a:r>
          </a:p>
          <a:p>
            <a:endParaRPr lang="en-US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B7CD771-7FC5-43BF-BFEA-E91B045375D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93836" y="2059632"/>
            <a:ext cx="5398164" cy="4798368"/>
            <a:chOff x="1631504" y="1916832"/>
            <a:chExt cx="4286250" cy="3810000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B87BE1D-5BCC-4B2D-A157-B5B82572D2D4}"/>
                </a:ext>
              </a:extLst>
            </p:cNvPr>
            <p:cNvSpPr/>
            <p:nvPr/>
          </p:nvSpPr>
          <p:spPr bwMode="gray">
            <a:xfrm>
              <a:off x="3536504" y="2393082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114E78E-1106-48E6-A1F0-2DFA201B8635}"/>
                </a:ext>
              </a:extLst>
            </p:cNvPr>
            <p:cNvSpPr/>
            <p:nvPr/>
          </p:nvSpPr>
          <p:spPr bwMode="gray">
            <a:xfrm>
              <a:off x="1631504" y="2869332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316EA6-55AF-40C5-AC64-E996B2E4C425}"/>
                </a:ext>
              </a:extLst>
            </p:cNvPr>
            <p:cNvSpPr/>
            <p:nvPr/>
          </p:nvSpPr>
          <p:spPr bwMode="gray">
            <a:xfrm>
              <a:off x="1631504" y="4298082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1A4E63AB-059C-4C37-96CB-B9EB5192C533}"/>
                </a:ext>
              </a:extLst>
            </p:cNvPr>
            <p:cNvSpPr/>
            <p:nvPr/>
          </p:nvSpPr>
          <p:spPr bwMode="gray">
            <a:xfrm>
              <a:off x="2584004" y="1916832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F69AC47-7EBD-4D7A-9F50-9933AE315AED}"/>
                </a:ext>
              </a:extLst>
            </p:cNvPr>
            <p:cNvSpPr/>
            <p:nvPr/>
          </p:nvSpPr>
          <p:spPr bwMode="gray">
            <a:xfrm>
              <a:off x="4012754" y="3821832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/>
        </p:nvSpPr>
        <p:spPr bwMode="gray"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>
              <a:lnSpc>
                <a:spcPct val="110000"/>
              </a:lnSpc>
            </a:pPr>
            <a:r>
              <a:rPr lang="en-US" sz="1300" b="1" noProof="0" dirty="0">
                <a:solidFill>
                  <a:schemeClr val="bg1"/>
                </a:solidFill>
                <a:cs typeface="Arial"/>
              </a:rPr>
              <a:t>eurex.com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908C5A1-8AEE-45B3-A12E-0DF0CFA757E0}"/>
              </a:ext>
            </a:extLst>
          </p:cNvPr>
          <p:cNvGrpSpPr/>
          <p:nvPr/>
        </p:nvGrpSpPr>
        <p:grpSpPr bwMode="gray">
          <a:xfrm>
            <a:off x="579960" y="6286127"/>
            <a:ext cx="893303" cy="292571"/>
            <a:chOff x="2553599" y="5821406"/>
            <a:chExt cx="1319408" cy="432127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3B475B9-4DAA-48B0-986A-7C1D27A9C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023753" y="5872533"/>
              <a:ext cx="381000" cy="3810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3527209-1CE9-45C8-B64A-C97F252A7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553599" y="5821406"/>
              <a:ext cx="381000" cy="38100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B01DB67E-B8A2-4332-BEB0-3A023616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483366" y="5826891"/>
              <a:ext cx="389641" cy="389641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D805CEE-D93F-4052-A5C6-58033A837D1B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4692D9A-4B87-4AF5-B223-E4A01797DFB8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BF592B5D-CC4C-4224-9FE3-C7A37231CBF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37534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04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6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2pPr>
            <a:lvl3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3pPr>
            <a:lvl4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4pPr>
            <a:lvl5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5pPr>
            <a:lvl6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6pPr>
            <a:lvl7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7pPr>
            <a:lvl8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8pPr>
            <a:lvl9pPr marL="0" indent="0" algn="l">
              <a:lnSpc>
                <a:spcPct val="110000"/>
              </a:lnSpc>
              <a:spcAft>
                <a:spcPts val="0"/>
              </a:spcAft>
              <a:buNone/>
              <a:defRPr sz="1400"/>
            </a:lvl9pPr>
          </a:lstStyle>
          <a:p>
            <a:r>
              <a:rPr lang="en-US" noProof="0" dirty="0"/>
              <a:t>Insert Contact Data</a:t>
            </a:r>
          </a:p>
          <a:p>
            <a:endParaRPr lang="en-US" noProof="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/>
        </p:nvSpPr>
        <p:spPr bwMode="gray"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>
              <a:lnSpc>
                <a:spcPct val="110000"/>
              </a:lnSpc>
            </a:pPr>
            <a:r>
              <a:rPr lang="en-US" sz="1300" b="1" noProof="0" dirty="0">
                <a:solidFill>
                  <a:schemeClr val="tx1"/>
                </a:solidFill>
                <a:cs typeface="Arial"/>
              </a:rPr>
              <a:t>eurex.com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E8658D4-18AC-47E1-BB05-BD6E4F68484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95737" y="2061321"/>
            <a:ext cx="5396263" cy="4796679"/>
            <a:chOff x="1523492" y="1772816"/>
            <a:chExt cx="4286250" cy="3810000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80A6452-C4C0-4689-9D82-D012C6062047}"/>
                </a:ext>
              </a:extLst>
            </p:cNvPr>
            <p:cNvSpPr/>
            <p:nvPr/>
          </p:nvSpPr>
          <p:spPr bwMode="gray">
            <a:xfrm>
              <a:off x="3428492" y="2249066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C6B87D13-2E44-488B-8720-15BDDC34C439}"/>
                </a:ext>
              </a:extLst>
            </p:cNvPr>
            <p:cNvSpPr/>
            <p:nvPr/>
          </p:nvSpPr>
          <p:spPr bwMode="gray">
            <a:xfrm>
              <a:off x="1523492" y="2725316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10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E2F3DBB-D667-4CFF-A200-6DE864AE4012}"/>
                </a:ext>
              </a:extLst>
            </p:cNvPr>
            <p:cNvSpPr/>
            <p:nvPr/>
          </p:nvSpPr>
          <p:spPr bwMode="gray">
            <a:xfrm>
              <a:off x="1523492" y="4154066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59F40D-BFD8-4484-B9DB-E0B4B94CBD66}"/>
                </a:ext>
              </a:extLst>
            </p:cNvPr>
            <p:cNvSpPr/>
            <p:nvPr/>
          </p:nvSpPr>
          <p:spPr bwMode="gray">
            <a:xfrm>
              <a:off x="2475992" y="1772816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40000">
                  <a:srgbClr val="00CE7D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9386CE8-8182-4603-A8F8-3E0FDA3C35AF}"/>
                </a:ext>
              </a:extLst>
            </p:cNvPr>
            <p:cNvSpPr/>
            <p:nvPr/>
          </p:nvSpPr>
          <p:spPr bwMode="gray">
            <a:xfrm>
              <a:off x="3904742" y="3677816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60000">
                  <a:srgbClr val="201751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0E1A2CB0-6D74-448A-80A4-4DC1F573C4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6C8C546-39C1-4CD3-B645-B9538B73CCFC}"/>
              </a:ext>
            </a:extLst>
          </p:cNvPr>
          <p:cNvGrpSpPr/>
          <p:nvPr/>
        </p:nvGrpSpPr>
        <p:grpSpPr bwMode="gray">
          <a:xfrm>
            <a:off x="579960" y="6286132"/>
            <a:ext cx="893303" cy="292570"/>
            <a:chOff x="2553599" y="5821406"/>
            <a:chExt cx="1319408" cy="432125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DDA673D-2640-4A92-A0DE-A0590EF39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3023753" y="5872532"/>
              <a:ext cx="380999" cy="380999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C7C24929-B316-4465-BCDD-3C0FD35B7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2553599" y="5821406"/>
              <a:ext cx="380999" cy="380999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468E6E72-9D75-4733-8EB5-260EA76DF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3483366" y="5826892"/>
              <a:ext cx="389641" cy="389641"/>
            </a:xfrm>
            <a:prstGeom prst="rect">
              <a:avLst/>
            </a:prstGeom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04373BF-A277-48A3-8D43-D377404F8B46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99B857AA-78E9-48C5-8CC0-F52A3FB5F827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E700AB1C-EBB2-47AD-8A16-413F56ACDB4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3264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|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004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C2FAAA42-85D2-4B64-AB82-9B1A7713D16B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D760FE9-CA9E-4E13-B24D-08CAE7262CB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95737" y="2061321"/>
            <a:ext cx="5396263" cy="4796679"/>
            <a:chOff x="1523492" y="1772816"/>
            <a:chExt cx="4286250" cy="3810000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927FB20-9879-4BBD-AEEC-9C317AC8C1B1}"/>
                </a:ext>
              </a:extLst>
            </p:cNvPr>
            <p:cNvSpPr/>
            <p:nvPr/>
          </p:nvSpPr>
          <p:spPr bwMode="gray">
            <a:xfrm>
              <a:off x="3428492" y="2249066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0659511-CA53-45C8-A6C9-80C8B0AB2970}"/>
                </a:ext>
              </a:extLst>
            </p:cNvPr>
            <p:cNvSpPr/>
            <p:nvPr/>
          </p:nvSpPr>
          <p:spPr bwMode="gray">
            <a:xfrm>
              <a:off x="1523492" y="2725316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10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BF39AA4-A4D1-486C-91DA-3EBF982CA638}"/>
                </a:ext>
              </a:extLst>
            </p:cNvPr>
            <p:cNvSpPr/>
            <p:nvPr/>
          </p:nvSpPr>
          <p:spPr bwMode="gray">
            <a:xfrm>
              <a:off x="1523492" y="4154066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56FCA6CD-1C5D-476F-939F-87503A7AF6AF}"/>
                </a:ext>
              </a:extLst>
            </p:cNvPr>
            <p:cNvSpPr/>
            <p:nvPr/>
          </p:nvSpPr>
          <p:spPr bwMode="gray">
            <a:xfrm>
              <a:off x="2475992" y="1772816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40000">
                  <a:srgbClr val="00CE7D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4DAFE5C-9E41-4B97-9A80-8FCE93DDDF38}"/>
                </a:ext>
              </a:extLst>
            </p:cNvPr>
            <p:cNvSpPr/>
            <p:nvPr/>
          </p:nvSpPr>
          <p:spPr bwMode="gray">
            <a:xfrm>
              <a:off x="3904742" y="3677816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3F3F3"/>
                </a:gs>
                <a:gs pos="60000">
                  <a:srgbClr val="201751"/>
                </a:gs>
              </a:gsLst>
              <a:lin ang="108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A247A1-6E06-46FF-A63C-2F0B4428A9ED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3B2CB8-C3FC-45D4-AB28-8075EC762991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A53CE83-EAA3-48F3-9C6C-1519D583D8E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597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| Blue 2">
    <p:bg bwMode="auto">
      <p:bgPr>
        <a:solidFill>
          <a:srgbClr val="2017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97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0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 noProof="0" dirty="0"/>
              <a:t>Insert Contact Data</a:t>
            </a:r>
          </a:p>
          <a:p>
            <a:endParaRPr lang="en-US" noProof="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4973" y="476936"/>
            <a:ext cx="3630623" cy="32987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/>
        </p:nvSpPr>
        <p:spPr bwMode="gray"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>
              <a:lnSpc>
                <a:spcPct val="110000"/>
              </a:lnSpc>
            </a:pPr>
            <a:r>
              <a:rPr lang="en-US" sz="1300" b="1" noProof="0" dirty="0">
                <a:solidFill>
                  <a:schemeClr val="bg1"/>
                </a:solidFill>
                <a:cs typeface="Arial"/>
              </a:rPr>
              <a:t>eurex.com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908C5A1-8AEE-45B3-A12E-0DF0CFA757E0}"/>
              </a:ext>
            </a:extLst>
          </p:cNvPr>
          <p:cNvGrpSpPr/>
          <p:nvPr/>
        </p:nvGrpSpPr>
        <p:grpSpPr bwMode="gray">
          <a:xfrm>
            <a:off x="579960" y="6286127"/>
            <a:ext cx="893303" cy="292571"/>
            <a:chOff x="2553599" y="5821406"/>
            <a:chExt cx="1319408" cy="432127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3B475B9-4DAA-48B0-986A-7C1D27A9C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023753" y="5872533"/>
              <a:ext cx="381000" cy="3810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3527209-1CE9-45C8-B64A-C97F252A7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553599" y="5821406"/>
              <a:ext cx="381000" cy="38100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B01DB67E-B8A2-4332-BEB0-3A023616D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483366" y="5826891"/>
              <a:ext cx="389641" cy="389641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769E7C5-C0E1-48CD-9388-6F2008D5527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334500" y="3238500"/>
            <a:ext cx="2857500" cy="3619500"/>
            <a:chOff x="3611724" y="1974857"/>
            <a:chExt cx="2857500" cy="3619500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7304EB86-5EEA-438D-B39C-697E03DEBDAC}"/>
                </a:ext>
              </a:extLst>
            </p:cNvPr>
            <p:cNvSpPr/>
            <p:nvPr/>
          </p:nvSpPr>
          <p:spPr bwMode="gray">
            <a:xfrm>
              <a:off x="3611724" y="3879857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8F723E8-3D83-4C80-8A6C-D974206A31D6}"/>
                </a:ext>
              </a:extLst>
            </p:cNvPr>
            <p:cNvSpPr/>
            <p:nvPr/>
          </p:nvSpPr>
          <p:spPr bwMode="gray">
            <a:xfrm>
              <a:off x="4564224" y="3879857"/>
              <a:ext cx="952500" cy="1714500"/>
            </a:xfrm>
            <a:custGeom>
              <a:avLst/>
              <a:gdLst>
                <a:gd name="connsiteX0" fmla="*/ 95 w 952500"/>
                <a:gd name="connsiteY0" fmla="*/ 952405 h 1714500"/>
                <a:gd name="connsiteX1" fmla="*/ 0 w 952500"/>
                <a:gd name="connsiteY1" fmla="*/ 952405 h 1714500"/>
                <a:gd name="connsiteX2" fmla="*/ 0 w 952500"/>
                <a:gd name="connsiteY2" fmla="*/ 1714500 h 1714500"/>
                <a:gd name="connsiteX3" fmla="*/ 952500 w 952500"/>
                <a:gd name="connsiteY3" fmla="*/ 1714500 h 1714500"/>
                <a:gd name="connsiteX4" fmla="*/ 952500 w 952500"/>
                <a:gd name="connsiteY4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1714500">
                  <a:moveTo>
                    <a:pt x="95" y="952405"/>
                  </a:moveTo>
                  <a:lnTo>
                    <a:pt x="0" y="952405"/>
                  </a:lnTo>
                  <a:lnTo>
                    <a:pt x="0" y="1714500"/>
                  </a:lnTo>
                  <a:lnTo>
                    <a:pt x="952500" y="1714500"/>
                  </a:lnTo>
                  <a:lnTo>
                    <a:pt x="95250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1F888C89-D455-4F08-8365-D54C352BAABE}"/>
                </a:ext>
              </a:extLst>
            </p:cNvPr>
            <p:cNvSpPr/>
            <p:nvPr/>
          </p:nvSpPr>
          <p:spPr bwMode="gray">
            <a:xfrm>
              <a:off x="5516724" y="2927357"/>
              <a:ext cx="952500" cy="2667000"/>
            </a:xfrm>
            <a:custGeom>
              <a:avLst/>
              <a:gdLst>
                <a:gd name="connsiteX0" fmla="*/ 95 w 952500"/>
                <a:gd name="connsiteY0" fmla="*/ 952405 h 2667000"/>
                <a:gd name="connsiteX1" fmla="*/ 0 w 952500"/>
                <a:gd name="connsiteY1" fmla="*/ 952405 h 2667000"/>
                <a:gd name="connsiteX2" fmla="*/ 0 w 952500"/>
                <a:gd name="connsiteY2" fmla="*/ 2667000 h 2667000"/>
                <a:gd name="connsiteX3" fmla="*/ 952500 w 952500"/>
                <a:gd name="connsiteY3" fmla="*/ 2667000 h 2667000"/>
                <a:gd name="connsiteX4" fmla="*/ 952500 w 952500"/>
                <a:gd name="connsiteY4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2667000">
                  <a:moveTo>
                    <a:pt x="95" y="952405"/>
                  </a:moveTo>
                  <a:lnTo>
                    <a:pt x="0" y="952405"/>
                  </a:lnTo>
                  <a:lnTo>
                    <a:pt x="0" y="2667000"/>
                  </a:lnTo>
                  <a:lnTo>
                    <a:pt x="952500" y="2667000"/>
                  </a:lnTo>
                  <a:lnTo>
                    <a:pt x="952500" y="0"/>
                  </a:lnTo>
                  <a:close/>
                </a:path>
              </a:pathLst>
            </a:custGeom>
            <a:gradFill>
              <a:gsLst>
                <a:gs pos="50000">
                  <a:srgbClr val="00CE7D"/>
                </a:gs>
                <a:gs pos="9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460A32E-0B9F-44B5-B953-61598373A976}"/>
                </a:ext>
              </a:extLst>
            </p:cNvPr>
            <p:cNvSpPr/>
            <p:nvPr/>
          </p:nvSpPr>
          <p:spPr bwMode="gray">
            <a:xfrm>
              <a:off x="3611724" y="1974857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952500 h 1905000"/>
                <a:gd name="connsiteX2" fmla="*/ 0 w 952500"/>
                <a:gd name="connsiteY2" fmla="*/ 1905000 h 1905000"/>
                <a:gd name="connsiteX3" fmla="*/ 952500 w 952500"/>
                <a:gd name="connsiteY3" fmla="*/ 1905000 h 1905000"/>
                <a:gd name="connsiteX4" fmla="*/ 952500 w 952500"/>
                <a:gd name="connsiteY4" fmla="*/ 952500 h 1905000"/>
                <a:gd name="connsiteX5" fmla="*/ 0 w 952500"/>
                <a:gd name="connsiteY5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952500"/>
                  </a:lnTo>
                  <a:lnTo>
                    <a:pt x="0" y="1905000"/>
                  </a:lnTo>
                  <a:lnTo>
                    <a:pt x="952500" y="1905000"/>
                  </a:lnTo>
                  <a:lnTo>
                    <a:pt x="952500" y="952500"/>
                  </a:lnTo>
                  <a:cubicBezTo>
                    <a:pt x="952500" y="426434"/>
                    <a:pt x="526066" y="0"/>
                    <a:pt x="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8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6C95B4A1-F838-4739-BA62-FB12C408E95D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9ABA97B1-D598-4B8C-8FF3-BB40349CC4DC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C0B8390D-03A9-4F16-B9D4-A4DFD5B5740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18330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| 2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91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4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828092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Closing Phras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284538"/>
            <a:ext cx="5401233" cy="284480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noProof="0" dirty="0"/>
              <a:t>Insert Contact Data</a:t>
            </a:r>
          </a:p>
          <a:p>
            <a:endParaRPr lang="en-US" noProof="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EB0CB7E-9718-4DF4-BB58-8D22CBEA24FC}"/>
              </a:ext>
            </a:extLst>
          </p:cNvPr>
          <p:cNvSpPr/>
          <p:nvPr/>
        </p:nvSpPr>
        <p:spPr bwMode="gray">
          <a:xfrm>
            <a:off x="1566654" y="6286127"/>
            <a:ext cx="1019831" cy="2953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>
              <a:lnSpc>
                <a:spcPct val="110000"/>
              </a:lnSpc>
            </a:pPr>
            <a:r>
              <a:rPr lang="en-US" sz="1300" b="1" noProof="0" dirty="0">
                <a:solidFill>
                  <a:schemeClr val="tx1"/>
                </a:solidFill>
                <a:cs typeface="Arial"/>
              </a:rPr>
              <a:t>eurex.com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0E1A2CB0-6D74-448A-80A4-4DC1F573C4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6C8C546-39C1-4CD3-B645-B9538B73CCFC}"/>
              </a:ext>
            </a:extLst>
          </p:cNvPr>
          <p:cNvGrpSpPr/>
          <p:nvPr/>
        </p:nvGrpSpPr>
        <p:grpSpPr bwMode="gray">
          <a:xfrm>
            <a:off x="579960" y="6286132"/>
            <a:ext cx="893303" cy="292570"/>
            <a:chOff x="2553599" y="5821406"/>
            <a:chExt cx="1319408" cy="432125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6DDA673D-2640-4A92-A0DE-A0590EF39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3023753" y="5872532"/>
              <a:ext cx="380999" cy="380999"/>
            </a:xfrm>
            <a:prstGeom prst="rect">
              <a:avLst/>
            </a:prstGeom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C7C24929-B316-4465-BCDD-3C0FD35B7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2553599" y="5821406"/>
              <a:ext cx="380999" cy="380999"/>
            </a:xfrm>
            <a:prstGeom prst="rect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468E6E72-9D75-4733-8EB5-260EA76DF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3483366" y="5826892"/>
              <a:ext cx="389641" cy="389641"/>
            </a:xfrm>
            <a:prstGeom prst="rect">
              <a:avLst/>
            </a:prstGeom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CE47B92-4F39-4CC3-8CC2-49976D987D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334500" y="3238500"/>
            <a:ext cx="2857500" cy="3619500"/>
            <a:chOff x="2963652" y="2024844"/>
            <a:chExt cx="2857500" cy="3619500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324804C-B612-4BA6-B5ED-AB45197D167A}"/>
                </a:ext>
              </a:extLst>
            </p:cNvPr>
            <p:cNvSpPr/>
            <p:nvPr/>
          </p:nvSpPr>
          <p:spPr bwMode="gray">
            <a:xfrm>
              <a:off x="2963652" y="3929844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952500 w 952500"/>
                <a:gd name="connsiteY2" fmla="*/ 952500 h 952500"/>
                <a:gd name="connsiteX3" fmla="*/ 0 w 95250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952500" y="95250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00CE7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B69759A-97CF-49AB-9463-DC5120F1B7CF}"/>
                </a:ext>
              </a:extLst>
            </p:cNvPr>
            <p:cNvSpPr/>
            <p:nvPr/>
          </p:nvSpPr>
          <p:spPr bwMode="gray">
            <a:xfrm>
              <a:off x="3916152" y="3929844"/>
              <a:ext cx="952500" cy="1714500"/>
            </a:xfrm>
            <a:custGeom>
              <a:avLst/>
              <a:gdLst>
                <a:gd name="connsiteX0" fmla="*/ 95 w 952500"/>
                <a:gd name="connsiteY0" fmla="*/ 952405 h 1714500"/>
                <a:gd name="connsiteX1" fmla="*/ 0 w 952500"/>
                <a:gd name="connsiteY1" fmla="*/ 952405 h 1714500"/>
                <a:gd name="connsiteX2" fmla="*/ 0 w 952500"/>
                <a:gd name="connsiteY2" fmla="*/ 1714500 h 1714500"/>
                <a:gd name="connsiteX3" fmla="*/ 952500 w 952500"/>
                <a:gd name="connsiteY3" fmla="*/ 1714500 h 1714500"/>
                <a:gd name="connsiteX4" fmla="*/ 952500 w 952500"/>
                <a:gd name="connsiteY4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1714500">
                  <a:moveTo>
                    <a:pt x="95" y="952405"/>
                  </a:moveTo>
                  <a:lnTo>
                    <a:pt x="0" y="952405"/>
                  </a:lnTo>
                  <a:lnTo>
                    <a:pt x="0" y="1714500"/>
                  </a:lnTo>
                  <a:lnTo>
                    <a:pt x="952500" y="1714500"/>
                  </a:lnTo>
                  <a:lnTo>
                    <a:pt x="952500" y="0"/>
                  </a:lnTo>
                  <a:close/>
                </a:path>
              </a:pathLst>
            </a:custGeom>
            <a:solidFill>
              <a:srgbClr val="20175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C0A1495F-8810-4CEE-AD8B-A43806F94FDF}"/>
                </a:ext>
              </a:extLst>
            </p:cNvPr>
            <p:cNvSpPr/>
            <p:nvPr/>
          </p:nvSpPr>
          <p:spPr bwMode="gray">
            <a:xfrm>
              <a:off x="4868652" y="2977344"/>
              <a:ext cx="952500" cy="2667000"/>
            </a:xfrm>
            <a:custGeom>
              <a:avLst/>
              <a:gdLst>
                <a:gd name="connsiteX0" fmla="*/ 95 w 952500"/>
                <a:gd name="connsiteY0" fmla="*/ 952405 h 2667000"/>
                <a:gd name="connsiteX1" fmla="*/ 0 w 952500"/>
                <a:gd name="connsiteY1" fmla="*/ 952405 h 2667000"/>
                <a:gd name="connsiteX2" fmla="*/ 0 w 952500"/>
                <a:gd name="connsiteY2" fmla="*/ 2667000 h 2667000"/>
                <a:gd name="connsiteX3" fmla="*/ 952500 w 952500"/>
                <a:gd name="connsiteY3" fmla="*/ 2667000 h 2667000"/>
                <a:gd name="connsiteX4" fmla="*/ 952500 w 952500"/>
                <a:gd name="connsiteY4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0" h="2667000">
                  <a:moveTo>
                    <a:pt x="95" y="952405"/>
                  </a:moveTo>
                  <a:lnTo>
                    <a:pt x="0" y="952405"/>
                  </a:lnTo>
                  <a:lnTo>
                    <a:pt x="0" y="2667000"/>
                  </a:lnTo>
                  <a:lnTo>
                    <a:pt x="952500" y="2667000"/>
                  </a:lnTo>
                  <a:lnTo>
                    <a:pt x="952500" y="0"/>
                  </a:lnTo>
                  <a:close/>
                </a:path>
              </a:pathLst>
            </a:custGeom>
            <a:gradFill>
              <a:gsLst>
                <a:gs pos="40000">
                  <a:srgbClr val="00CE7D"/>
                </a:gs>
                <a:gs pos="9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55A090A-6BCA-4196-A77D-94E99524B41C}"/>
                </a:ext>
              </a:extLst>
            </p:cNvPr>
            <p:cNvSpPr/>
            <p:nvPr/>
          </p:nvSpPr>
          <p:spPr bwMode="gray">
            <a:xfrm>
              <a:off x="2963652" y="2024844"/>
              <a:ext cx="952500" cy="1905000"/>
            </a:xfrm>
            <a:custGeom>
              <a:avLst/>
              <a:gdLst>
                <a:gd name="connsiteX0" fmla="*/ 0 w 952500"/>
                <a:gd name="connsiteY0" fmla="*/ 0 h 1905000"/>
                <a:gd name="connsiteX1" fmla="*/ 0 w 952500"/>
                <a:gd name="connsiteY1" fmla="*/ 952500 h 1905000"/>
                <a:gd name="connsiteX2" fmla="*/ 0 w 952500"/>
                <a:gd name="connsiteY2" fmla="*/ 1905000 h 1905000"/>
                <a:gd name="connsiteX3" fmla="*/ 952500 w 952500"/>
                <a:gd name="connsiteY3" fmla="*/ 1905000 h 1905000"/>
                <a:gd name="connsiteX4" fmla="*/ 952500 w 952500"/>
                <a:gd name="connsiteY4" fmla="*/ 952500 h 1905000"/>
                <a:gd name="connsiteX5" fmla="*/ 0 w 952500"/>
                <a:gd name="connsiteY5" fmla="*/ 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905000">
                  <a:moveTo>
                    <a:pt x="0" y="0"/>
                  </a:moveTo>
                  <a:lnTo>
                    <a:pt x="0" y="952500"/>
                  </a:lnTo>
                  <a:lnTo>
                    <a:pt x="0" y="1905000"/>
                  </a:lnTo>
                  <a:lnTo>
                    <a:pt x="952500" y="1905000"/>
                  </a:lnTo>
                  <a:lnTo>
                    <a:pt x="952500" y="952500"/>
                  </a:lnTo>
                  <a:cubicBezTo>
                    <a:pt x="952500" y="426434"/>
                    <a:pt x="526066" y="0"/>
                    <a:pt x="0" y="0"/>
                  </a:cubicBezTo>
                  <a:close/>
                </a:path>
              </a:pathLst>
            </a:custGeom>
            <a:gradFill>
              <a:gsLst>
                <a:gs pos="20000">
                  <a:srgbClr val="201751"/>
                </a:gs>
                <a:gs pos="90000">
                  <a:srgbClr val="F3F3F3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noProof="0" dirty="0"/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24BA320-D58F-4CE1-83D6-FDBE7B68F03E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03A49809-A332-4A41-B292-33AEB5FA0D87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2ADBB2AC-6DFD-403D-A51F-55B8EC13F3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462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5B62076-FC75-4AA0-9E80-245B639481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91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48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5B62076-FC75-4AA0-9E80-245B63948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0303AE8-D4F2-48F5-909C-2C10850F9DA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017ED3E-FC82-4D9B-94A5-4264C37EC4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/>
        <p:txBody>
          <a:bodyPr numCol="2" spcCol="432000"/>
          <a:lstStyle>
            <a:lvl1pPr rtl="0">
              <a:lnSpc>
                <a:spcPct val="100000"/>
              </a:lnSpc>
              <a:spcAft>
                <a:spcPts val="400"/>
              </a:spcAft>
              <a:defRPr sz="800"/>
            </a:lvl1pPr>
            <a:lvl2pPr marL="108000" indent="-108000" rtl="0">
              <a:lnSpc>
                <a:spcPct val="100000"/>
              </a:lnSpc>
              <a:spcAft>
                <a:spcPts val="400"/>
              </a:spcAft>
              <a:defRPr sz="800"/>
            </a:lvl2pPr>
            <a:lvl3pPr marL="216000" indent="-108000" rtl="0">
              <a:lnSpc>
                <a:spcPct val="100000"/>
              </a:lnSpc>
              <a:spcAft>
                <a:spcPts val="400"/>
              </a:spcAft>
              <a:defRPr sz="800"/>
            </a:lvl3pPr>
            <a:lvl4pPr marL="216000" indent="0" rtl="0">
              <a:lnSpc>
                <a:spcPct val="100000"/>
              </a:lnSpc>
              <a:spcAft>
                <a:spcPts val="400"/>
              </a:spcAft>
              <a:defRPr sz="800"/>
            </a:lvl4pPr>
            <a:lvl5pPr marL="216000" indent="0" rtl="0">
              <a:lnSpc>
                <a:spcPct val="110000"/>
              </a:lnSpc>
              <a:spcAft>
                <a:spcPts val="400"/>
              </a:spcAft>
              <a:buNone/>
              <a:defRPr sz="800"/>
            </a:lvl5pPr>
            <a:lvl6pPr marL="216000" indent="0" rtl="0">
              <a:lnSpc>
                <a:spcPct val="110000"/>
              </a:lnSpc>
              <a:spcAft>
                <a:spcPts val="400"/>
              </a:spcAft>
              <a:buNone/>
              <a:defRPr sz="800"/>
            </a:lvl6pPr>
            <a:lvl7pPr marL="216000" indent="0" rtl="0">
              <a:lnSpc>
                <a:spcPct val="110000"/>
              </a:lnSpc>
              <a:spcAft>
                <a:spcPts val="400"/>
              </a:spcAft>
              <a:buFont typeface="Arial" panose="020B0604020202020204" pitchFamily="34" charset="0"/>
              <a:buNone/>
              <a:defRPr sz="800"/>
            </a:lvl7pPr>
            <a:lvl8pPr marL="216000" indent="0" rtl="0">
              <a:lnSpc>
                <a:spcPct val="110000"/>
              </a:lnSpc>
              <a:spcAft>
                <a:spcPts val="400"/>
              </a:spcAft>
              <a:buNone/>
              <a:defRPr sz="800"/>
            </a:lvl8pPr>
            <a:lvl9pPr marL="216000" indent="0" rtl="0">
              <a:lnSpc>
                <a:spcPct val="110000"/>
              </a:lnSpc>
              <a:spcAft>
                <a:spcPts val="400"/>
              </a:spcAft>
              <a:buNone/>
              <a:defRPr sz="800"/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 (with space after)</a:t>
            </a:r>
          </a:p>
          <a:p>
            <a:pPr lvl="4"/>
            <a:r>
              <a:rPr lang="en-US" noProof="0" dirty="0"/>
              <a:t>Level 5 (with space after)</a:t>
            </a:r>
          </a:p>
          <a:p>
            <a:pPr lvl="5"/>
            <a:r>
              <a:rPr lang="en-US" noProof="0" dirty="0"/>
              <a:t>Level 6 (with space after)</a:t>
            </a:r>
          </a:p>
          <a:p>
            <a:pPr lvl="6"/>
            <a:r>
              <a:rPr lang="en-US" noProof="0" dirty="0"/>
              <a:t>Level 7 (for tables)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  <a:p>
            <a:pPr lvl="5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06830A-D0A5-4AA5-86EA-D7F8AEFE3DEB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C52A0EEE-16FD-4B43-A75E-CC746CA3536C}" type="datetime1">
              <a:rPr lang="en-US"/>
              <a:t>8/3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691B8E-F709-4E3D-9D23-8791CE6F82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F62C6F6-6500-4CAC-BE45-3CB8EE904F2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017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| Blue 2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0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60C78D2D-488B-427F-9F58-A5FBB3BF8574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B7CD771-7FC5-43BF-BFEA-E91B045375D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93836" y="2059632"/>
            <a:ext cx="5398164" cy="4798368"/>
            <a:chOff x="1631504" y="1916832"/>
            <a:chExt cx="4286250" cy="3810000"/>
          </a:xfrm>
        </p:grpSpPr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B87BE1D-5BCC-4B2D-A157-B5B82572D2D4}"/>
                </a:ext>
              </a:extLst>
            </p:cNvPr>
            <p:cNvSpPr/>
            <p:nvPr/>
          </p:nvSpPr>
          <p:spPr bwMode="gray">
            <a:xfrm>
              <a:off x="3536504" y="2393082"/>
              <a:ext cx="952500" cy="952500"/>
            </a:xfrm>
            <a:custGeom>
              <a:avLst/>
              <a:gdLst>
                <a:gd name="connsiteX0" fmla="*/ 0 w 952500"/>
                <a:gd name="connsiteY0" fmla="*/ 0 h 952500"/>
                <a:gd name="connsiteX1" fmla="*/ 952500 w 952500"/>
                <a:gd name="connsiteY1" fmla="*/ 0 h 952500"/>
                <a:gd name="connsiteX2" fmla="*/ 0 w 952500"/>
                <a:gd name="connsiteY2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0" h="952500">
                  <a:moveTo>
                    <a:pt x="0" y="0"/>
                  </a:moveTo>
                  <a:lnTo>
                    <a:pt x="952500" y="0"/>
                  </a:lnTo>
                  <a:lnTo>
                    <a:pt x="0" y="95250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9114E78E-1106-48E6-A1F0-2DFA201B8635}"/>
                </a:ext>
              </a:extLst>
            </p:cNvPr>
            <p:cNvSpPr/>
            <p:nvPr/>
          </p:nvSpPr>
          <p:spPr bwMode="gray">
            <a:xfrm>
              <a:off x="1631504" y="2869332"/>
              <a:ext cx="952500" cy="1428750"/>
            </a:xfrm>
            <a:custGeom>
              <a:avLst/>
              <a:gdLst>
                <a:gd name="connsiteX0" fmla="*/ 476250 w 952500"/>
                <a:gd name="connsiteY0" fmla="*/ 0 h 1428750"/>
                <a:gd name="connsiteX1" fmla="*/ 0 w 952500"/>
                <a:gd name="connsiteY1" fmla="*/ 476250 h 1428750"/>
                <a:gd name="connsiteX2" fmla="*/ 0 w 952500"/>
                <a:gd name="connsiteY2" fmla="*/ 1428750 h 1428750"/>
                <a:gd name="connsiteX3" fmla="*/ 952500 w 952500"/>
                <a:gd name="connsiteY3" fmla="*/ 1428750 h 1428750"/>
                <a:gd name="connsiteX4" fmla="*/ 952500 w 952500"/>
                <a:gd name="connsiteY4" fmla="*/ 476250 h 1428750"/>
                <a:gd name="connsiteX5" fmla="*/ 476250 w 952500"/>
                <a:gd name="connsiteY5" fmla="*/ 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0" h="1428750">
                  <a:moveTo>
                    <a:pt x="476250" y="0"/>
                  </a:moveTo>
                  <a:cubicBezTo>
                    <a:pt x="213265" y="0"/>
                    <a:pt x="0" y="213265"/>
                    <a:pt x="0" y="476250"/>
                  </a:cubicBezTo>
                  <a:lnTo>
                    <a:pt x="0" y="1428750"/>
                  </a:lnTo>
                  <a:lnTo>
                    <a:pt x="952500" y="1428750"/>
                  </a:lnTo>
                  <a:lnTo>
                    <a:pt x="952500" y="476250"/>
                  </a:lnTo>
                  <a:cubicBezTo>
                    <a:pt x="952500" y="213265"/>
                    <a:pt x="739235" y="0"/>
                    <a:pt x="476250" y="0"/>
                  </a:cubicBezTo>
                  <a:close/>
                </a:path>
              </a:pathLst>
            </a:custGeom>
            <a:gradFill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316EA6-55AF-40C5-AC64-E996B2E4C425}"/>
                </a:ext>
              </a:extLst>
            </p:cNvPr>
            <p:cNvSpPr/>
            <p:nvPr/>
          </p:nvSpPr>
          <p:spPr bwMode="gray">
            <a:xfrm>
              <a:off x="1631504" y="4298082"/>
              <a:ext cx="1428750" cy="1428750"/>
            </a:xfrm>
            <a:custGeom>
              <a:avLst/>
              <a:gdLst>
                <a:gd name="connsiteX0" fmla="*/ 1428750 w 1428750"/>
                <a:gd name="connsiteY0" fmla="*/ 1428750 h 1428750"/>
                <a:gd name="connsiteX1" fmla="*/ 0 w 1428750"/>
                <a:gd name="connsiteY1" fmla="*/ 0 h 1428750"/>
                <a:gd name="connsiteX2" fmla="*/ 0 w 1428750"/>
                <a:gd name="connsiteY2" fmla="*/ 952500 h 1428750"/>
                <a:gd name="connsiteX3" fmla="*/ 476250 w 1428750"/>
                <a:gd name="connsiteY3" fmla="*/ 1428750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0" h="1428750">
                  <a:moveTo>
                    <a:pt x="1428750" y="1428750"/>
                  </a:moveTo>
                  <a:lnTo>
                    <a:pt x="0" y="0"/>
                  </a:lnTo>
                  <a:lnTo>
                    <a:pt x="0" y="952500"/>
                  </a:lnTo>
                  <a:lnTo>
                    <a:pt x="476250" y="14287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1A4E63AB-059C-4C37-96CB-B9EB5192C533}"/>
                </a:ext>
              </a:extLst>
            </p:cNvPr>
            <p:cNvSpPr/>
            <p:nvPr/>
          </p:nvSpPr>
          <p:spPr bwMode="gray">
            <a:xfrm>
              <a:off x="2584004" y="1916832"/>
              <a:ext cx="3333750" cy="3333750"/>
            </a:xfrm>
            <a:custGeom>
              <a:avLst/>
              <a:gdLst>
                <a:gd name="connsiteX0" fmla="*/ 3333750 w 3333750"/>
                <a:gd name="connsiteY0" fmla="*/ 0 h 3333750"/>
                <a:gd name="connsiteX1" fmla="*/ 952500 w 3333750"/>
                <a:gd name="connsiteY1" fmla="*/ 2381250 h 3333750"/>
                <a:gd name="connsiteX2" fmla="*/ 0 w 3333750"/>
                <a:gd name="connsiteY2" fmla="*/ 2381250 h 3333750"/>
                <a:gd name="connsiteX3" fmla="*/ 952500 w 3333750"/>
                <a:gd name="connsiteY3" fmla="*/ 3333750 h 3333750"/>
                <a:gd name="connsiteX4" fmla="*/ 3333750 w 3333750"/>
                <a:gd name="connsiteY4" fmla="*/ 952500 h 333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750" h="3333750">
                  <a:moveTo>
                    <a:pt x="3333750" y="0"/>
                  </a:moveTo>
                  <a:lnTo>
                    <a:pt x="952500" y="2381250"/>
                  </a:lnTo>
                  <a:lnTo>
                    <a:pt x="0" y="2381250"/>
                  </a:lnTo>
                  <a:lnTo>
                    <a:pt x="952500" y="3333750"/>
                  </a:lnTo>
                  <a:lnTo>
                    <a:pt x="333375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F69AC47-7EBD-4D7A-9F50-9933AE315AED}"/>
                </a:ext>
              </a:extLst>
            </p:cNvPr>
            <p:cNvSpPr/>
            <p:nvPr/>
          </p:nvSpPr>
          <p:spPr bwMode="gray">
            <a:xfrm>
              <a:off x="4012754" y="3821832"/>
              <a:ext cx="1905000" cy="1905000"/>
            </a:xfrm>
            <a:custGeom>
              <a:avLst/>
              <a:gdLst>
                <a:gd name="connsiteX0" fmla="*/ 1905000 w 1905000"/>
                <a:gd name="connsiteY0" fmla="*/ 0 h 1905000"/>
                <a:gd name="connsiteX1" fmla="*/ 0 w 1905000"/>
                <a:gd name="connsiteY1" fmla="*/ 1905000 h 1905000"/>
                <a:gd name="connsiteX2" fmla="*/ 952500 w 1905000"/>
                <a:gd name="connsiteY2" fmla="*/ 1905000 h 1905000"/>
                <a:gd name="connsiteX3" fmla="*/ 1905000 w 1905000"/>
                <a:gd name="connsiteY3" fmla="*/ 95250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0" h="1905000">
                  <a:moveTo>
                    <a:pt x="1905000" y="0"/>
                  </a:moveTo>
                  <a:lnTo>
                    <a:pt x="0" y="1905000"/>
                  </a:lnTo>
                  <a:lnTo>
                    <a:pt x="952500" y="1905000"/>
                  </a:lnTo>
                  <a:lnTo>
                    <a:pt x="1905000" y="952500"/>
                  </a:lnTo>
                  <a:close/>
                </a:path>
              </a:pathLst>
            </a:custGeom>
            <a:gradFill flip="none" rotWithShape="1">
              <a:gsLst>
                <a:gs pos="20000">
                  <a:srgbClr val="00CE7D"/>
                </a:gs>
                <a:gs pos="100000">
                  <a:srgbClr val="201751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EF992F0-B3EB-4191-8AB3-AD2BFB925606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9D8D461-A362-48A4-9B04-84E28206311E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15FBEFD8-FFC0-429A-A030-E706FE389DC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13331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lean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866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>
              <a:buFont typeface="Arial" panose="020B0604020202020204" pitchFamily="34" charset="0"/>
              <a:buNone/>
            </a:pPr>
            <a:fld id="{5E9B4CFA-EC95-4156-9974-0E5C44761D02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93716A6-53FD-48FB-B41B-CF445F3B7DC3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9189ABA5-48A6-4290-A595-0289C27EBF36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4BD8CCE5-8E09-428F-82FE-A1E8240CA1C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5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lean | Blue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46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8800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5600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bg2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2"/>
                </a:solidFill>
              </a:defRPr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4873DD5D-77DC-48FC-8E2C-8A5EEBC5CC2A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04973" y="476936"/>
            <a:ext cx="3630623" cy="329870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FB24C7-8994-4816-B358-A2A456885FB9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C116766B-B246-4FB0-8073-658E06181EBC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00CE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FFF42547-6A8D-469C-8751-E2AB5421CF2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2017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95953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lean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81A581C-5B5A-4A55-906C-B989ED23EC42}"/>
              </a:ext>
            </a:extLst>
          </p:cNvPr>
          <p:cNvGrpSpPr/>
          <p:nvPr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F79BA4E-8448-4418-BB13-32A593778B82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3B76702A-4BDE-4445-BD59-9C0E31123A8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87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56788EF7-8057-43C1-9468-9990A2FA1CBC}" type="datetime1">
              <a:rPr lang="en-US"/>
              <a:t>8/31/2022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7E81EE69-1B45-4EBF-B7F2-9648BE3DB9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00" y="476936"/>
            <a:ext cx="3638169" cy="32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602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Picture ligh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C608807-1C94-465C-9DEF-9329E2C0B4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1994" cy="6857997"/>
          </a:xfrm>
          <a:custGeom>
            <a:avLst/>
            <a:gdLst>
              <a:gd name="connsiteX0" fmla="*/ 0 w 12191994"/>
              <a:gd name="connsiteY0" fmla="*/ 0 h 6857997"/>
              <a:gd name="connsiteX1" fmla="*/ 10798169 w 12191994"/>
              <a:gd name="connsiteY1" fmla="*/ 0 h 6857997"/>
              <a:gd name="connsiteX2" fmla="*/ 10798169 w 12191994"/>
              <a:gd name="connsiteY2" fmla="*/ 3175 h 6857997"/>
              <a:gd name="connsiteX3" fmla="*/ 10804526 w 12191994"/>
              <a:gd name="connsiteY3" fmla="*/ 3175 h 6857997"/>
              <a:gd name="connsiteX4" fmla="*/ 10804526 w 12191994"/>
              <a:gd name="connsiteY4" fmla="*/ 730423 h 6857997"/>
              <a:gd name="connsiteX5" fmla="*/ 11209339 w 12191994"/>
              <a:gd name="connsiteY5" fmla="*/ 1135064 h 6857997"/>
              <a:gd name="connsiteX6" fmla="*/ 11614151 w 12191994"/>
              <a:gd name="connsiteY6" fmla="*/ 730423 h 6857997"/>
              <a:gd name="connsiteX7" fmla="*/ 11614151 w 12191994"/>
              <a:gd name="connsiteY7" fmla="*/ 3175 h 6857997"/>
              <a:gd name="connsiteX8" fmla="*/ 11617319 w 12191994"/>
              <a:gd name="connsiteY8" fmla="*/ 3175 h 6857997"/>
              <a:gd name="connsiteX9" fmla="*/ 11617319 w 12191994"/>
              <a:gd name="connsiteY9" fmla="*/ 0 h 6857997"/>
              <a:gd name="connsiteX10" fmla="*/ 12191994 w 12191994"/>
              <a:gd name="connsiteY10" fmla="*/ 0 h 6857997"/>
              <a:gd name="connsiteX11" fmla="*/ 12191994 w 12191994"/>
              <a:gd name="connsiteY11" fmla="*/ 6857997 h 6857997"/>
              <a:gd name="connsiteX12" fmla="*/ 0 w 12191994"/>
              <a:gd name="connsiteY12" fmla="*/ 6857997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1994" h="6857997">
                <a:moveTo>
                  <a:pt x="0" y="0"/>
                </a:moveTo>
                <a:lnTo>
                  <a:pt x="10798169" y="0"/>
                </a:lnTo>
                <a:lnTo>
                  <a:pt x="10798169" y="3175"/>
                </a:lnTo>
                <a:lnTo>
                  <a:pt x="10804526" y="3175"/>
                </a:lnTo>
                <a:lnTo>
                  <a:pt x="10804526" y="730423"/>
                </a:lnTo>
                <a:cubicBezTo>
                  <a:pt x="10804526" y="953909"/>
                  <a:pt x="10985834" y="1135064"/>
                  <a:pt x="11209339" y="1135064"/>
                </a:cubicBezTo>
                <a:cubicBezTo>
                  <a:pt x="11433015" y="1135064"/>
                  <a:pt x="11614151" y="953909"/>
                  <a:pt x="11614151" y="730423"/>
                </a:cubicBezTo>
                <a:lnTo>
                  <a:pt x="11614151" y="3175"/>
                </a:lnTo>
                <a:lnTo>
                  <a:pt x="11617319" y="3175"/>
                </a:lnTo>
                <a:lnTo>
                  <a:pt x="11617319" y="0"/>
                </a:lnTo>
                <a:lnTo>
                  <a:pt x="12191994" y="0"/>
                </a:lnTo>
                <a:lnTo>
                  <a:pt x="12191994" y="6857997"/>
                </a:lnTo>
                <a:lnTo>
                  <a:pt x="0" y="6857997"/>
                </a:lnTo>
                <a:close/>
              </a:path>
            </a:pathLst>
          </a:custGeom>
          <a:noFill/>
          <a:ln w="0">
            <a:solidFill>
              <a:schemeClr val="accent4">
                <a:alpha val="0"/>
              </a:schemeClr>
            </a:solidFill>
          </a:ln>
        </p:spPr>
        <p:txBody>
          <a:bodyPr wrap="square" anchor="ctr">
            <a:noAutofit/>
          </a:bodyPr>
          <a:lstStyle>
            <a:lvl1pPr algn="ctr" rtl="0">
              <a:defRPr sz="1400"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18C76A0-A84A-4A26-A5A7-F6B7377D6E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1200" y="476580"/>
            <a:ext cx="3639600" cy="3312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81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2" name="think-cell Folie" r:id="rId6" imgW="286" imgH="286" progId="TCLayout.ActiveDocument.1">
                  <p:embed/>
                </p:oleObj>
              </mc:Choice>
              <mc:Fallback>
                <p:oleObj name="think-cell Folie" r:id="rId6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D13A899D-1D3E-4183-BBC6-983CE640A114}" type="datetime1">
              <a:rPr lang="en-US"/>
              <a:t>8/31/2022</a:t>
            </a:fld>
            <a:endParaRPr lang="en-US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DACB356-7CA0-4AAB-A780-4444172A0E73}"/>
              </a:ext>
            </a:extLst>
          </p:cNvPr>
          <p:cNvGrpSpPr/>
          <p:nvPr userDrawn="1"/>
        </p:nvGrpSpPr>
        <p:grpSpPr bwMode="gray">
          <a:xfrm>
            <a:off x="10804526" y="1"/>
            <a:ext cx="809625" cy="1135063"/>
            <a:chOff x="10804526" y="1"/>
            <a:chExt cx="809625" cy="1135063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9F0CB56B-AE8A-4C5A-B6E3-856E3B2E030D}"/>
                </a:ext>
              </a:extLst>
            </p:cNvPr>
            <p:cNvSpPr/>
            <p:nvPr userDrawn="1"/>
          </p:nvSpPr>
          <p:spPr bwMode="gray">
            <a:xfrm>
              <a:off x="10804526" y="1"/>
              <a:ext cx="809625" cy="1135063"/>
            </a:xfrm>
            <a:custGeom>
              <a:avLst/>
              <a:gdLst>
                <a:gd name="connsiteX0" fmla="*/ 0 w 809625"/>
                <a:gd name="connsiteY0" fmla="*/ 0 h 1135063"/>
                <a:gd name="connsiteX1" fmla="*/ 809625 w 809625"/>
                <a:gd name="connsiteY1" fmla="*/ 0 h 1135063"/>
                <a:gd name="connsiteX2" fmla="*/ 809625 w 809625"/>
                <a:gd name="connsiteY2" fmla="*/ 730422 h 1135063"/>
                <a:gd name="connsiteX3" fmla="*/ 404813 w 809625"/>
                <a:gd name="connsiteY3" fmla="*/ 1135063 h 1135063"/>
                <a:gd name="connsiteX4" fmla="*/ 0 w 809625"/>
                <a:gd name="connsiteY4" fmla="*/ 730422 h 113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1135063">
                  <a:moveTo>
                    <a:pt x="0" y="0"/>
                  </a:moveTo>
                  <a:lnTo>
                    <a:pt x="809625" y="0"/>
                  </a:lnTo>
                  <a:lnTo>
                    <a:pt x="809625" y="730422"/>
                  </a:lnTo>
                  <a:cubicBezTo>
                    <a:pt x="809625" y="953908"/>
                    <a:pt x="628489" y="1135063"/>
                    <a:pt x="404813" y="1135063"/>
                  </a:cubicBezTo>
                  <a:cubicBezTo>
                    <a:pt x="181308" y="1135063"/>
                    <a:pt x="0" y="953908"/>
                    <a:pt x="0" y="730422"/>
                  </a:cubicBezTo>
                  <a:close/>
                </a:path>
              </a:pathLst>
            </a:custGeom>
            <a:solidFill>
              <a:srgbClr val="2017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bIns="79200" rtlCol="0" anchor="ctr">
              <a:noAutofit/>
            </a:bodyPr>
            <a:lstStyle/>
            <a:p>
              <a:pPr algn="ctr" rtl="0"/>
              <a:endParaRPr lang="en-US" sz="14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0348263-5996-4CFA-816A-194D88993BE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929938" y="487363"/>
              <a:ext cx="595313" cy="320675"/>
            </a:xfrm>
            <a:custGeom>
              <a:avLst/>
              <a:gdLst>
                <a:gd name="T0" fmla="*/ 3270 w 3471"/>
                <a:gd name="T1" fmla="*/ 1872 h 1872"/>
                <a:gd name="T2" fmla="*/ 3137 w 3471"/>
                <a:gd name="T3" fmla="*/ 1817 h 1872"/>
                <a:gd name="T4" fmla="*/ 2679 w 3471"/>
                <a:gd name="T5" fmla="*/ 1358 h 1872"/>
                <a:gd name="T6" fmla="*/ 2677 w 3471"/>
                <a:gd name="T7" fmla="*/ 1096 h 1872"/>
                <a:gd name="T8" fmla="*/ 2806 w 3471"/>
                <a:gd name="T9" fmla="*/ 1042 h 1872"/>
                <a:gd name="T10" fmla="*/ 2939 w 3471"/>
                <a:gd name="T11" fmla="*/ 1098 h 1872"/>
                <a:gd name="T12" fmla="*/ 3397 w 3471"/>
                <a:gd name="T13" fmla="*/ 1557 h 1872"/>
                <a:gd name="T14" fmla="*/ 3452 w 3471"/>
                <a:gd name="T15" fmla="*/ 1688 h 1872"/>
                <a:gd name="T16" fmla="*/ 3399 w 3471"/>
                <a:gd name="T17" fmla="*/ 1819 h 1872"/>
                <a:gd name="T18" fmla="*/ 3270 w 3471"/>
                <a:gd name="T19" fmla="*/ 1872 h 1872"/>
                <a:gd name="T20" fmla="*/ 3270 w 3471"/>
                <a:gd name="T21" fmla="*/ 1872 h 1872"/>
                <a:gd name="T22" fmla="*/ 1787 w 3471"/>
                <a:gd name="T23" fmla="*/ 1872 h 1872"/>
                <a:gd name="T24" fmla="*/ 1658 w 3471"/>
                <a:gd name="T25" fmla="*/ 1819 h 1872"/>
                <a:gd name="T26" fmla="*/ 1605 w 3471"/>
                <a:gd name="T27" fmla="*/ 1688 h 1872"/>
                <a:gd name="T28" fmla="*/ 1660 w 3471"/>
                <a:gd name="T29" fmla="*/ 1557 h 1872"/>
                <a:gd name="T30" fmla="*/ 2119 w 3471"/>
                <a:gd name="T31" fmla="*/ 1098 h 1872"/>
                <a:gd name="T32" fmla="*/ 2252 w 3471"/>
                <a:gd name="T33" fmla="*/ 1042 h 1872"/>
                <a:gd name="T34" fmla="*/ 2381 w 3471"/>
                <a:gd name="T35" fmla="*/ 1096 h 1872"/>
                <a:gd name="T36" fmla="*/ 2379 w 3471"/>
                <a:gd name="T37" fmla="*/ 1358 h 1872"/>
                <a:gd name="T38" fmla="*/ 1920 w 3471"/>
                <a:gd name="T39" fmla="*/ 1817 h 1872"/>
                <a:gd name="T40" fmla="*/ 1787 w 3471"/>
                <a:gd name="T41" fmla="*/ 1872 h 1872"/>
                <a:gd name="T42" fmla="*/ 1787 w 3471"/>
                <a:gd name="T43" fmla="*/ 1872 h 1872"/>
                <a:gd name="T44" fmla="*/ 196 w 3471"/>
                <a:gd name="T45" fmla="*/ 1857 h 1872"/>
                <a:gd name="T46" fmla="*/ 0 w 3471"/>
                <a:gd name="T47" fmla="*/ 1662 h 1872"/>
                <a:gd name="T48" fmla="*/ 0 w 3471"/>
                <a:gd name="T49" fmla="*/ 211 h 1872"/>
                <a:gd name="T50" fmla="*/ 196 w 3471"/>
                <a:gd name="T51" fmla="*/ 16 h 1872"/>
                <a:gd name="T52" fmla="*/ 1219 w 3471"/>
                <a:gd name="T53" fmla="*/ 16 h 1872"/>
                <a:gd name="T54" fmla="*/ 1390 w 3471"/>
                <a:gd name="T55" fmla="*/ 185 h 1872"/>
                <a:gd name="T56" fmla="*/ 1219 w 3471"/>
                <a:gd name="T57" fmla="*/ 354 h 1872"/>
                <a:gd name="T58" fmla="*/ 372 w 3471"/>
                <a:gd name="T59" fmla="*/ 354 h 1872"/>
                <a:gd name="T60" fmla="*/ 372 w 3471"/>
                <a:gd name="T61" fmla="*/ 1518 h 1872"/>
                <a:gd name="T62" fmla="*/ 1232 w 3471"/>
                <a:gd name="T63" fmla="*/ 1518 h 1872"/>
                <a:gd name="T64" fmla="*/ 1404 w 3471"/>
                <a:gd name="T65" fmla="*/ 1688 h 1872"/>
                <a:gd name="T66" fmla="*/ 1232 w 3471"/>
                <a:gd name="T67" fmla="*/ 1857 h 1872"/>
                <a:gd name="T68" fmla="*/ 196 w 3471"/>
                <a:gd name="T69" fmla="*/ 1857 h 1872"/>
                <a:gd name="T70" fmla="*/ 590 w 3471"/>
                <a:gd name="T71" fmla="*/ 1099 h 1872"/>
                <a:gd name="T72" fmla="*/ 590 w 3471"/>
                <a:gd name="T73" fmla="*/ 761 h 1872"/>
                <a:gd name="T74" fmla="*/ 1628 w 3471"/>
                <a:gd name="T75" fmla="*/ 761 h 1872"/>
                <a:gd name="T76" fmla="*/ 1800 w 3471"/>
                <a:gd name="T77" fmla="*/ 930 h 1872"/>
                <a:gd name="T78" fmla="*/ 1628 w 3471"/>
                <a:gd name="T79" fmla="*/ 1099 h 1872"/>
                <a:gd name="T80" fmla="*/ 590 w 3471"/>
                <a:gd name="T81" fmla="*/ 1099 h 1872"/>
                <a:gd name="T82" fmla="*/ 2806 w 3471"/>
                <a:gd name="T83" fmla="*/ 831 h 1872"/>
                <a:gd name="T84" fmla="*/ 2677 w 3471"/>
                <a:gd name="T85" fmla="*/ 777 h 1872"/>
                <a:gd name="T86" fmla="*/ 2679 w 3471"/>
                <a:gd name="T87" fmla="*/ 515 h 1872"/>
                <a:gd name="T88" fmla="*/ 3137 w 3471"/>
                <a:gd name="T89" fmla="*/ 56 h 1872"/>
                <a:gd name="T90" fmla="*/ 3270 w 3471"/>
                <a:gd name="T91" fmla="*/ 0 h 1872"/>
                <a:gd name="T92" fmla="*/ 3399 w 3471"/>
                <a:gd name="T93" fmla="*/ 54 h 1872"/>
                <a:gd name="T94" fmla="*/ 3397 w 3471"/>
                <a:gd name="T95" fmla="*/ 316 h 1872"/>
                <a:gd name="T96" fmla="*/ 2939 w 3471"/>
                <a:gd name="T97" fmla="*/ 775 h 1872"/>
                <a:gd name="T98" fmla="*/ 2806 w 3471"/>
                <a:gd name="T99" fmla="*/ 831 h 1872"/>
                <a:gd name="T100" fmla="*/ 2252 w 3471"/>
                <a:gd name="T101" fmla="*/ 831 h 1872"/>
                <a:gd name="T102" fmla="*/ 2119 w 3471"/>
                <a:gd name="T103" fmla="*/ 775 h 1872"/>
                <a:gd name="T104" fmla="*/ 1660 w 3471"/>
                <a:gd name="T105" fmla="*/ 316 h 1872"/>
                <a:gd name="T106" fmla="*/ 1658 w 3471"/>
                <a:gd name="T107" fmla="*/ 54 h 1872"/>
                <a:gd name="T108" fmla="*/ 1787 w 3471"/>
                <a:gd name="T109" fmla="*/ 0 h 1872"/>
                <a:gd name="T110" fmla="*/ 1920 w 3471"/>
                <a:gd name="T111" fmla="*/ 56 h 1872"/>
                <a:gd name="T112" fmla="*/ 2379 w 3471"/>
                <a:gd name="T113" fmla="*/ 515 h 1872"/>
                <a:gd name="T114" fmla="*/ 2381 w 3471"/>
                <a:gd name="T115" fmla="*/ 777 h 1872"/>
                <a:gd name="T116" fmla="*/ 2252 w 3471"/>
                <a:gd name="T117" fmla="*/ 831 h 1872"/>
                <a:gd name="T118" fmla="*/ 2252 w 3471"/>
                <a:gd name="T119" fmla="*/ 831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71" h="1872">
                  <a:moveTo>
                    <a:pt x="3270" y="1872"/>
                  </a:moveTo>
                  <a:cubicBezTo>
                    <a:pt x="3220" y="1872"/>
                    <a:pt x="3173" y="1853"/>
                    <a:pt x="3137" y="1817"/>
                  </a:cubicBezTo>
                  <a:lnTo>
                    <a:pt x="2679" y="1358"/>
                  </a:lnTo>
                  <a:cubicBezTo>
                    <a:pt x="2606" y="1285"/>
                    <a:pt x="2605" y="1167"/>
                    <a:pt x="2677" y="1096"/>
                  </a:cubicBezTo>
                  <a:cubicBezTo>
                    <a:pt x="2711" y="1061"/>
                    <a:pt x="2757" y="1042"/>
                    <a:pt x="2806" y="1042"/>
                  </a:cubicBezTo>
                  <a:cubicBezTo>
                    <a:pt x="2856" y="1042"/>
                    <a:pt x="2903" y="1062"/>
                    <a:pt x="2939" y="1098"/>
                  </a:cubicBezTo>
                  <a:lnTo>
                    <a:pt x="3397" y="1557"/>
                  </a:lnTo>
                  <a:cubicBezTo>
                    <a:pt x="3432" y="1592"/>
                    <a:pt x="3452" y="1639"/>
                    <a:pt x="3452" y="1688"/>
                  </a:cubicBezTo>
                  <a:cubicBezTo>
                    <a:pt x="3453" y="1738"/>
                    <a:pt x="3434" y="1784"/>
                    <a:pt x="3399" y="1819"/>
                  </a:cubicBezTo>
                  <a:cubicBezTo>
                    <a:pt x="3365" y="1854"/>
                    <a:pt x="3319" y="1872"/>
                    <a:pt x="3270" y="1872"/>
                  </a:cubicBezTo>
                  <a:lnTo>
                    <a:pt x="3270" y="1872"/>
                  </a:lnTo>
                  <a:close/>
                  <a:moveTo>
                    <a:pt x="1787" y="1872"/>
                  </a:moveTo>
                  <a:cubicBezTo>
                    <a:pt x="1739" y="1872"/>
                    <a:pt x="1693" y="1854"/>
                    <a:pt x="1658" y="1819"/>
                  </a:cubicBezTo>
                  <a:cubicBezTo>
                    <a:pt x="1624" y="1784"/>
                    <a:pt x="1605" y="1738"/>
                    <a:pt x="1605" y="1688"/>
                  </a:cubicBezTo>
                  <a:cubicBezTo>
                    <a:pt x="1605" y="1639"/>
                    <a:pt x="1625" y="1592"/>
                    <a:pt x="1660" y="1557"/>
                  </a:cubicBezTo>
                  <a:lnTo>
                    <a:pt x="2119" y="1098"/>
                  </a:lnTo>
                  <a:cubicBezTo>
                    <a:pt x="2154" y="1062"/>
                    <a:pt x="2202" y="1042"/>
                    <a:pt x="2252" y="1042"/>
                  </a:cubicBezTo>
                  <a:cubicBezTo>
                    <a:pt x="2300" y="1042"/>
                    <a:pt x="2346" y="1061"/>
                    <a:pt x="2381" y="1096"/>
                  </a:cubicBezTo>
                  <a:cubicBezTo>
                    <a:pt x="2452" y="1167"/>
                    <a:pt x="2451" y="1285"/>
                    <a:pt x="2379" y="1358"/>
                  </a:cubicBezTo>
                  <a:lnTo>
                    <a:pt x="1920" y="1817"/>
                  </a:lnTo>
                  <a:cubicBezTo>
                    <a:pt x="1885" y="1853"/>
                    <a:pt x="1837" y="1872"/>
                    <a:pt x="1787" y="1872"/>
                  </a:cubicBezTo>
                  <a:cubicBezTo>
                    <a:pt x="1787" y="1872"/>
                    <a:pt x="1787" y="1872"/>
                    <a:pt x="1787" y="1872"/>
                  </a:cubicBezTo>
                  <a:close/>
                  <a:moveTo>
                    <a:pt x="196" y="1857"/>
                  </a:moveTo>
                  <a:cubicBezTo>
                    <a:pt x="87" y="1857"/>
                    <a:pt x="0" y="1771"/>
                    <a:pt x="0" y="1662"/>
                  </a:cubicBezTo>
                  <a:lnTo>
                    <a:pt x="0" y="211"/>
                  </a:lnTo>
                  <a:cubicBezTo>
                    <a:pt x="0" y="102"/>
                    <a:pt x="87" y="16"/>
                    <a:pt x="196" y="16"/>
                  </a:cubicBezTo>
                  <a:lnTo>
                    <a:pt x="1219" y="16"/>
                  </a:lnTo>
                  <a:cubicBezTo>
                    <a:pt x="1313" y="16"/>
                    <a:pt x="1390" y="92"/>
                    <a:pt x="1390" y="185"/>
                  </a:cubicBezTo>
                  <a:cubicBezTo>
                    <a:pt x="1390" y="278"/>
                    <a:pt x="1313" y="354"/>
                    <a:pt x="1219" y="354"/>
                  </a:cubicBezTo>
                  <a:lnTo>
                    <a:pt x="372" y="354"/>
                  </a:lnTo>
                  <a:lnTo>
                    <a:pt x="372" y="1518"/>
                  </a:lnTo>
                  <a:lnTo>
                    <a:pt x="1232" y="1518"/>
                  </a:lnTo>
                  <a:cubicBezTo>
                    <a:pt x="1327" y="1518"/>
                    <a:pt x="1404" y="1594"/>
                    <a:pt x="1404" y="1688"/>
                  </a:cubicBezTo>
                  <a:cubicBezTo>
                    <a:pt x="1404" y="1781"/>
                    <a:pt x="1327" y="1857"/>
                    <a:pt x="1232" y="1857"/>
                  </a:cubicBezTo>
                  <a:lnTo>
                    <a:pt x="196" y="1857"/>
                  </a:lnTo>
                  <a:close/>
                  <a:moveTo>
                    <a:pt x="590" y="1099"/>
                  </a:moveTo>
                  <a:lnTo>
                    <a:pt x="590" y="761"/>
                  </a:lnTo>
                  <a:lnTo>
                    <a:pt x="1628" y="761"/>
                  </a:lnTo>
                  <a:cubicBezTo>
                    <a:pt x="1723" y="761"/>
                    <a:pt x="1800" y="837"/>
                    <a:pt x="1800" y="930"/>
                  </a:cubicBezTo>
                  <a:cubicBezTo>
                    <a:pt x="1800" y="1023"/>
                    <a:pt x="1723" y="1099"/>
                    <a:pt x="1628" y="1099"/>
                  </a:cubicBezTo>
                  <a:lnTo>
                    <a:pt x="590" y="1099"/>
                  </a:lnTo>
                  <a:close/>
                  <a:moveTo>
                    <a:pt x="2806" y="831"/>
                  </a:moveTo>
                  <a:cubicBezTo>
                    <a:pt x="2757" y="831"/>
                    <a:pt x="2711" y="812"/>
                    <a:pt x="2677" y="777"/>
                  </a:cubicBezTo>
                  <a:cubicBezTo>
                    <a:pt x="2605" y="706"/>
                    <a:pt x="2606" y="588"/>
                    <a:pt x="2679" y="515"/>
                  </a:cubicBezTo>
                  <a:lnTo>
                    <a:pt x="3137" y="56"/>
                  </a:lnTo>
                  <a:cubicBezTo>
                    <a:pt x="3173" y="20"/>
                    <a:pt x="3220" y="0"/>
                    <a:pt x="3270" y="0"/>
                  </a:cubicBezTo>
                  <a:cubicBezTo>
                    <a:pt x="3319" y="0"/>
                    <a:pt x="3365" y="19"/>
                    <a:pt x="3399" y="54"/>
                  </a:cubicBezTo>
                  <a:cubicBezTo>
                    <a:pt x="3471" y="126"/>
                    <a:pt x="3470" y="243"/>
                    <a:pt x="3397" y="316"/>
                  </a:cubicBezTo>
                  <a:lnTo>
                    <a:pt x="2939" y="775"/>
                  </a:lnTo>
                  <a:cubicBezTo>
                    <a:pt x="2903" y="811"/>
                    <a:pt x="2856" y="831"/>
                    <a:pt x="2806" y="831"/>
                  </a:cubicBezTo>
                  <a:close/>
                  <a:moveTo>
                    <a:pt x="2252" y="831"/>
                  </a:moveTo>
                  <a:cubicBezTo>
                    <a:pt x="2202" y="831"/>
                    <a:pt x="2154" y="811"/>
                    <a:pt x="2119" y="775"/>
                  </a:cubicBezTo>
                  <a:lnTo>
                    <a:pt x="1660" y="316"/>
                  </a:lnTo>
                  <a:cubicBezTo>
                    <a:pt x="1588" y="243"/>
                    <a:pt x="1587" y="126"/>
                    <a:pt x="1658" y="54"/>
                  </a:cubicBezTo>
                  <a:cubicBezTo>
                    <a:pt x="1693" y="19"/>
                    <a:pt x="1739" y="0"/>
                    <a:pt x="1787" y="0"/>
                  </a:cubicBezTo>
                  <a:cubicBezTo>
                    <a:pt x="1837" y="0"/>
                    <a:pt x="1885" y="20"/>
                    <a:pt x="1920" y="56"/>
                  </a:cubicBezTo>
                  <a:lnTo>
                    <a:pt x="2379" y="515"/>
                  </a:lnTo>
                  <a:cubicBezTo>
                    <a:pt x="2451" y="588"/>
                    <a:pt x="2452" y="706"/>
                    <a:pt x="2381" y="777"/>
                  </a:cubicBezTo>
                  <a:cubicBezTo>
                    <a:pt x="2346" y="812"/>
                    <a:pt x="2300" y="831"/>
                    <a:pt x="2252" y="831"/>
                  </a:cubicBezTo>
                  <a:lnTo>
                    <a:pt x="2252" y="831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50315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| Picture dark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FA7638A-DB90-4716-9D23-5F81C6236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1994" cy="6857997"/>
          </a:xfrm>
          <a:custGeom>
            <a:avLst/>
            <a:gdLst>
              <a:gd name="connsiteX0" fmla="*/ 0 w 12191994"/>
              <a:gd name="connsiteY0" fmla="*/ 0 h 6857997"/>
              <a:gd name="connsiteX1" fmla="*/ 10798169 w 12191994"/>
              <a:gd name="connsiteY1" fmla="*/ 0 h 6857997"/>
              <a:gd name="connsiteX2" fmla="*/ 10798169 w 12191994"/>
              <a:gd name="connsiteY2" fmla="*/ 3175 h 6857997"/>
              <a:gd name="connsiteX3" fmla="*/ 10804526 w 12191994"/>
              <a:gd name="connsiteY3" fmla="*/ 3175 h 6857997"/>
              <a:gd name="connsiteX4" fmla="*/ 10804526 w 12191994"/>
              <a:gd name="connsiteY4" fmla="*/ 730423 h 6857997"/>
              <a:gd name="connsiteX5" fmla="*/ 11209339 w 12191994"/>
              <a:gd name="connsiteY5" fmla="*/ 1135064 h 6857997"/>
              <a:gd name="connsiteX6" fmla="*/ 11614151 w 12191994"/>
              <a:gd name="connsiteY6" fmla="*/ 730423 h 6857997"/>
              <a:gd name="connsiteX7" fmla="*/ 11614151 w 12191994"/>
              <a:gd name="connsiteY7" fmla="*/ 3175 h 6857997"/>
              <a:gd name="connsiteX8" fmla="*/ 11617319 w 12191994"/>
              <a:gd name="connsiteY8" fmla="*/ 3175 h 6857997"/>
              <a:gd name="connsiteX9" fmla="*/ 11617319 w 12191994"/>
              <a:gd name="connsiteY9" fmla="*/ 0 h 6857997"/>
              <a:gd name="connsiteX10" fmla="*/ 12191994 w 12191994"/>
              <a:gd name="connsiteY10" fmla="*/ 0 h 6857997"/>
              <a:gd name="connsiteX11" fmla="*/ 12191994 w 12191994"/>
              <a:gd name="connsiteY11" fmla="*/ 6857997 h 6857997"/>
              <a:gd name="connsiteX12" fmla="*/ 0 w 12191994"/>
              <a:gd name="connsiteY12" fmla="*/ 6857997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1994" h="6857997">
                <a:moveTo>
                  <a:pt x="0" y="0"/>
                </a:moveTo>
                <a:lnTo>
                  <a:pt x="10798169" y="0"/>
                </a:lnTo>
                <a:lnTo>
                  <a:pt x="10798169" y="3175"/>
                </a:lnTo>
                <a:lnTo>
                  <a:pt x="10804526" y="3175"/>
                </a:lnTo>
                <a:lnTo>
                  <a:pt x="10804526" y="730423"/>
                </a:lnTo>
                <a:cubicBezTo>
                  <a:pt x="10804526" y="953909"/>
                  <a:pt x="10985834" y="1135064"/>
                  <a:pt x="11209339" y="1135064"/>
                </a:cubicBezTo>
                <a:cubicBezTo>
                  <a:pt x="11433015" y="1135064"/>
                  <a:pt x="11614151" y="953909"/>
                  <a:pt x="11614151" y="730423"/>
                </a:cubicBezTo>
                <a:lnTo>
                  <a:pt x="11614151" y="3175"/>
                </a:lnTo>
                <a:lnTo>
                  <a:pt x="11617319" y="3175"/>
                </a:lnTo>
                <a:lnTo>
                  <a:pt x="11617319" y="0"/>
                </a:lnTo>
                <a:lnTo>
                  <a:pt x="12191994" y="0"/>
                </a:lnTo>
                <a:lnTo>
                  <a:pt x="12191994" y="6857997"/>
                </a:lnTo>
                <a:lnTo>
                  <a:pt x="0" y="6857997"/>
                </a:lnTo>
                <a:close/>
              </a:path>
            </a:pathLst>
          </a:custGeom>
          <a:noFill/>
          <a:ln w="0">
            <a:solidFill>
              <a:schemeClr val="accent4">
                <a:alpha val="0"/>
              </a:schemeClr>
            </a:solidFill>
          </a:ln>
        </p:spPr>
        <p:txBody>
          <a:bodyPr wrap="square" anchor="ctr">
            <a:noAutofit/>
          </a:bodyPr>
          <a:lstStyle>
            <a:lvl1pPr algn="ctr" rtl="0">
              <a:defRPr sz="1400"/>
            </a:lvl1pPr>
          </a:lstStyle>
          <a:p>
            <a:r>
              <a:rPr lang="en-US" noProof="0" dirty="0"/>
              <a:t> 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F4188EE-2DE5-4030-AFB3-0F72906CF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1200" y="476580"/>
            <a:ext cx="3639600" cy="3312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7125A306-10C1-4558-9F34-4F3403A1B151}"/>
              </a:ext>
            </a:extLst>
          </p:cNvPr>
          <p:cNvSpPr/>
          <p:nvPr/>
        </p:nvSpPr>
        <p:spPr bwMode="gray">
          <a:xfrm>
            <a:off x="10804526" y="1"/>
            <a:ext cx="809625" cy="1135063"/>
          </a:xfrm>
          <a:custGeom>
            <a:avLst/>
            <a:gdLst>
              <a:gd name="connsiteX0" fmla="*/ 0 w 809625"/>
              <a:gd name="connsiteY0" fmla="*/ 0 h 1135063"/>
              <a:gd name="connsiteX1" fmla="*/ 809625 w 809625"/>
              <a:gd name="connsiteY1" fmla="*/ 0 h 1135063"/>
              <a:gd name="connsiteX2" fmla="*/ 809625 w 809625"/>
              <a:gd name="connsiteY2" fmla="*/ 730422 h 1135063"/>
              <a:gd name="connsiteX3" fmla="*/ 404813 w 809625"/>
              <a:gd name="connsiteY3" fmla="*/ 1135063 h 1135063"/>
              <a:gd name="connsiteX4" fmla="*/ 0 w 809625"/>
              <a:gd name="connsiteY4" fmla="*/ 730422 h 1135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625" h="1135063">
                <a:moveTo>
                  <a:pt x="0" y="0"/>
                </a:moveTo>
                <a:lnTo>
                  <a:pt x="809625" y="0"/>
                </a:lnTo>
                <a:lnTo>
                  <a:pt x="809625" y="730422"/>
                </a:lnTo>
                <a:cubicBezTo>
                  <a:pt x="809625" y="953908"/>
                  <a:pt x="628489" y="1135063"/>
                  <a:pt x="404813" y="1135063"/>
                </a:cubicBezTo>
                <a:cubicBezTo>
                  <a:pt x="181308" y="1135063"/>
                  <a:pt x="0" y="953908"/>
                  <a:pt x="0" y="7304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bIns="79200" rtlCol="0" anchor="ctr">
            <a:noAutofit/>
          </a:bodyPr>
          <a:lstStyle/>
          <a:p>
            <a:pPr algn="ctr" rtl="0"/>
            <a:endParaRPr lang="en-US" sz="1400" dirty="0"/>
          </a:p>
        </p:txBody>
      </p:sp>
      <p:sp>
        <p:nvSpPr>
          <p:cNvPr id="14" name="Freeform 17">
            <a:extLst>
              <a:ext uri="{FF2B5EF4-FFF2-40B4-BE49-F238E27FC236}">
                <a16:creationId xmlns:a16="http://schemas.microsoft.com/office/drawing/2014/main" id="{7F9829CA-BDE0-47DD-B91C-A6DA74F64C5F}"/>
              </a:ext>
            </a:extLst>
          </p:cNvPr>
          <p:cNvSpPr>
            <a:spLocks noEditPoints="1"/>
          </p:cNvSpPr>
          <p:nvPr/>
        </p:nvSpPr>
        <p:spPr bwMode="gray">
          <a:xfrm>
            <a:off x="10929938" y="487363"/>
            <a:ext cx="595313" cy="320675"/>
          </a:xfrm>
          <a:custGeom>
            <a:avLst/>
            <a:gdLst>
              <a:gd name="T0" fmla="*/ 3270 w 3471"/>
              <a:gd name="T1" fmla="*/ 1872 h 1872"/>
              <a:gd name="T2" fmla="*/ 3137 w 3471"/>
              <a:gd name="T3" fmla="*/ 1817 h 1872"/>
              <a:gd name="T4" fmla="*/ 2679 w 3471"/>
              <a:gd name="T5" fmla="*/ 1358 h 1872"/>
              <a:gd name="T6" fmla="*/ 2677 w 3471"/>
              <a:gd name="T7" fmla="*/ 1096 h 1872"/>
              <a:gd name="T8" fmla="*/ 2806 w 3471"/>
              <a:gd name="T9" fmla="*/ 1042 h 1872"/>
              <a:gd name="T10" fmla="*/ 2939 w 3471"/>
              <a:gd name="T11" fmla="*/ 1098 h 1872"/>
              <a:gd name="T12" fmla="*/ 3397 w 3471"/>
              <a:gd name="T13" fmla="*/ 1557 h 1872"/>
              <a:gd name="T14" fmla="*/ 3452 w 3471"/>
              <a:gd name="T15" fmla="*/ 1688 h 1872"/>
              <a:gd name="T16" fmla="*/ 3399 w 3471"/>
              <a:gd name="T17" fmla="*/ 1819 h 1872"/>
              <a:gd name="T18" fmla="*/ 3270 w 3471"/>
              <a:gd name="T19" fmla="*/ 1872 h 1872"/>
              <a:gd name="T20" fmla="*/ 3270 w 3471"/>
              <a:gd name="T21" fmla="*/ 1872 h 1872"/>
              <a:gd name="T22" fmla="*/ 1787 w 3471"/>
              <a:gd name="T23" fmla="*/ 1872 h 1872"/>
              <a:gd name="T24" fmla="*/ 1658 w 3471"/>
              <a:gd name="T25" fmla="*/ 1819 h 1872"/>
              <a:gd name="T26" fmla="*/ 1605 w 3471"/>
              <a:gd name="T27" fmla="*/ 1688 h 1872"/>
              <a:gd name="T28" fmla="*/ 1660 w 3471"/>
              <a:gd name="T29" fmla="*/ 1557 h 1872"/>
              <a:gd name="T30" fmla="*/ 2119 w 3471"/>
              <a:gd name="T31" fmla="*/ 1098 h 1872"/>
              <a:gd name="T32" fmla="*/ 2252 w 3471"/>
              <a:gd name="T33" fmla="*/ 1042 h 1872"/>
              <a:gd name="T34" fmla="*/ 2381 w 3471"/>
              <a:gd name="T35" fmla="*/ 1096 h 1872"/>
              <a:gd name="T36" fmla="*/ 2379 w 3471"/>
              <a:gd name="T37" fmla="*/ 1358 h 1872"/>
              <a:gd name="T38" fmla="*/ 1920 w 3471"/>
              <a:gd name="T39" fmla="*/ 1817 h 1872"/>
              <a:gd name="T40" fmla="*/ 1787 w 3471"/>
              <a:gd name="T41" fmla="*/ 1872 h 1872"/>
              <a:gd name="T42" fmla="*/ 1787 w 3471"/>
              <a:gd name="T43" fmla="*/ 1872 h 1872"/>
              <a:gd name="T44" fmla="*/ 196 w 3471"/>
              <a:gd name="T45" fmla="*/ 1857 h 1872"/>
              <a:gd name="T46" fmla="*/ 0 w 3471"/>
              <a:gd name="T47" fmla="*/ 1662 h 1872"/>
              <a:gd name="T48" fmla="*/ 0 w 3471"/>
              <a:gd name="T49" fmla="*/ 211 h 1872"/>
              <a:gd name="T50" fmla="*/ 196 w 3471"/>
              <a:gd name="T51" fmla="*/ 16 h 1872"/>
              <a:gd name="T52" fmla="*/ 1219 w 3471"/>
              <a:gd name="T53" fmla="*/ 16 h 1872"/>
              <a:gd name="T54" fmla="*/ 1390 w 3471"/>
              <a:gd name="T55" fmla="*/ 185 h 1872"/>
              <a:gd name="T56" fmla="*/ 1219 w 3471"/>
              <a:gd name="T57" fmla="*/ 354 h 1872"/>
              <a:gd name="T58" fmla="*/ 372 w 3471"/>
              <a:gd name="T59" fmla="*/ 354 h 1872"/>
              <a:gd name="T60" fmla="*/ 372 w 3471"/>
              <a:gd name="T61" fmla="*/ 1518 h 1872"/>
              <a:gd name="T62" fmla="*/ 1232 w 3471"/>
              <a:gd name="T63" fmla="*/ 1518 h 1872"/>
              <a:gd name="T64" fmla="*/ 1404 w 3471"/>
              <a:gd name="T65" fmla="*/ 1688 h 1872"/>
              <a:gd name="T66" fmla="*/ 1232 w 3471"/>
              <a:gd name="T67" fmla="*/ 1857 h 1872"/>
              <a:gd name="T68" fmla="*/ 196 w 3471"/>
              <a:gd name="T69" fmla="*/ 1857 h 1872"/>
              <a:gd name="T70" fmla="*/ 590 w 3471"/>
              <a:gd name="T71" fmla="*/ 1099 h 1872"/>
              <a:gd name="T72" fmla="*/ 590 w 3471"/>
              <a:gd name="T73" fmla="*/ 761 h 1872"/>
              <a:gd name="T74" fmla="*/ 1628 w 3471"/>
              <a:gd name="T75" fmla="*/ 761 h 1872"/>
              <a:gd name="T76" fmla="*/ 1800 w 3471"/>
              <a:gd name="T77" fmla="*/ 930 h 1872"/>
              <a:gd name="T78" fmla="*/ 1628 w 3471"/>
              <a:gd name="T79" fmla="*/ 1099 h 1872"/>
              <a:gd name="T80" fmla="*/ 590 w 3471"/>
              <a:gd name="T81" fmla="*/ 1099 h 1872"/>
              <a:gd name="T82" fmla="*/ 2806 w 3471"/>
              <a:gd name="T83" fmla="*/ 831 h 1872"/>
              <a:gd name="T84" fmla="*/ 2677 w 3471"/>
              <a:gd name="T85" fmla="*/ 777 h 1872"/>
              <a:gd name="T86" fmla="*/ 2679 w 3471"/>
              <a:gd name="T87" fmla="*/ 515 h 1872"/>
              <a:gd name="T88" fmla="*/ 3137 w 3471"/>
              <a:gd name="T89" fmla="*/ 56 h 1872"/>
              <a:gd name="T90" fmla="*/ 3270 w 3471"/>
              <a:gd name="T91" fmla="*/ 0 h 1872"/>
              <a:gd name="T92" fmla="*/ 3399 w 3471"/>
              <a:gd name="T93" fmla="*/ 54 h 1872"/>
              <a:gd name="T94" fmla="*/ 3397 w 3471"/>
              <a:gd name="T95" fmla="*/ 316 h 1872"/>
              <a:gd name="T96" fmla="*/ 2939 w 3471"/>
              <a:gd name="T97" fmla="*/ 775 h 1872"/>
              <a:gd name="T98" fmla="*/ 2806 w 3471"/>
              <a:gd name="T99" fmla="*/ 831 h 1872"/>
              <a:gd name="T100" fmla="*/ 2252 w 3471"/>
              <a:gd name="T101" fmla="*/ 831 h 1872"/>
              <a:gd name="T102" fmla="*/ 2119 w 3471"/>
              <a:gd name="T103" fmla="*/ 775 h 1872"/>
              <a:gd name="T104" fmla="*/ 1660 w 3471"/>
              <a:gd name="T105" fmla="*/ 316 h 1872"/>
              <a:gd name="T106" fmla="*/ 1658 w 3471"/>
              <a:gd name="T107" fmla="*/ 54 h 1872"/>
              <a:gd name="T108" fmla="*/ 1787 w 3471"/>
              <a:gd name="T109" fmla="*/ 0 h 1872"/>
              <a:gd name="T110" fmla="*/ 1920 w 3471"/>
              <a:gd name="T111" fmla="*/ 56 h 1872"/>
              <a:gd name="T112" fmla="*/ 2379 w 3471"/>
              <a:gd name="T113" fmla="*/ 515 h 1872"/>
              <a:gd name="T114" fmla="*/ 2381 w 3471"/>
              <a:gd name="T115" fmla="*/ 777 h 1872"/>
              <a:gd name="T116" fmla="*/ 2252 w 3471"/>
              <a:gd name="T117" fmla="*/ 831 h 1872"/>
              <a:gd name="T118" fmla="*/ 2252 w 3471"/>
              <a:gd name="T119" fmla="*/ 831 h 1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71" h="1872">
                <a:moveTo>
                  <a:pt x="3270" y="1872"/>
                </a:moveTo>
                <a:cubicBezTo>
                  <a:pt x="3220" y="1872"/>
                  <a:pt x="3173" y="1853"/>
                  <a:pt x="3137" y="1817"/>
                </a:cubicBezTo>
                <a:lnTo>
                  <a:pt x="2679" y="1358"/>
                </a:lnTo>
                <a:cubicBezTo>
                  <a:pt x="2606" y="1285"/>
                  <a:pt x="2605" y="1167"/>
                  <a:pt x="2677" y="1096"/>
                </a:cubicBezTo>
                <a:cubicBezTo>
                  <a:pt x="2711" y="1061"/>
                  <a:pt x="2757" y="1042"/>
                  <a:pt x="2806" y="1042"/>
                </a:cubicBezTo>
                <a:cubicBezTo>
                  <a:pt x="2856" y="1042"/>
                  <a:pt x="2903" y="1062"/>
                  <a:pt x="2939" y="1098"/>
                </a:cubicBezTo>
                <a:lnTo>
                  <a:pt x="3397" y="1557"/>
                </a:lnTo>
                <a:cubicBezTo>
                  <a:pt x="3432" y="1592"/>
                  <a:pt x="3452" y="1639"/>
                  <a:pt x="3452" y="1688"/>
                </a:cubicBezTo>
                <a:cubicBezTo>
                  <a:pt x="3453" y="1738"/>
                  <a:pt x="3434" y="1784"/>
                  <a:pt x="3399" y="1819"/>
                </a:cubicBezTo>
                <a:cubicBezTo>
                  <a:pt x="3365" y="1854"/>
                  <a:pt x="3319" y="1872"/>
                  <a:pt x="3270" y="1872"/>
                </a:cubicBezTo>
                <a:lnTo>
                  <a:pt x="3270" y="1872"/>
                </a:lnTo>
                <a:close/>
                <a:moveTo>
                  <a:pt x="1787" y="1872"/>
                </a:moveTo>
                <a:cubicBezTo>
                  <a:pt x="1739" y="1872"/>
                  <a:pt x="1693" y="1854"/>
                  <a:pt x="1658" y="1819"/>
                </a:cubicBezTo>
                <a:cubicBezTo>
                  <a:pt x="1624" y="1784"/>
                  <a:pt x="1605" y="1738"/>
                  <a:pt x="1605" y="1688"/>
                </a:cubicBezTo>
                <a:cubicBezTo>
                  <a:pt x="1605" y="1639"/>
                  <a:pt x="1625" y="1592"/>
                  <a:pt x="1660" y="1557"/>
                </a:cubicBezTo>
                <a:lnTo>
                  <a:pt x="2119" y="1098"/>
                </a:lnTo>
                <a:cubicBezTo>
                  <a:pt x="2154" y="1062"/>
                  <a:pt x="2202" y="1042"/>
                  <a:pt x="2252" y="1042"/>
                </a:cubicBezTo>
                <a:cubicBezTo>
                  <a:pt x="2300" y="1042"/>
                  <a:pt x="2346" y="1061"/>
                  <a:pt x="2381" y="1096"/>
                </a:cubicBezTo>
                <a:cubicBezTo>
                  <a:pt x="2452" y="1167"/>
                  <a:pt x="2451" y="1285"/>
                  <a:pt x="2379" y="1358"/>
                </a:cubicBezTo>
                <a:lnTo>
                  <a:pt x="1920" y="1817"/>
                </a:lnTo>
                <a:cubicBezTo>
                  <a:pt x="1885" y="1853"/>
                  <a:pt x="1837" y="1872"/>
                  <a:pt x="1787" y="1872"/>
                </a:cubicBezTo>
                <a:cubicBezTo>
                  <a:pt x="1787" y="1872"/>
                  <a:pt x="1787" y="1872"/>
                  <a:pt x="1787" y="1872"/>
                </a:cubicBezTo>
                <a:close/>
                <a:moveTo>
                  <a:pt x="196" y="1857"/>
                </a:moveTo>
                <a:cubicBezTo>
                  <a:pt x="87" y="1857"/>
                  <a:pt x="0" y="1771"/>
                  <a:pt x="0" y="1662"/>
                </a:cubicBezTo>
                <a:lnTo>
                  <a:pt x="0" y="211"/>
                </a:lnTo>
                <a:cubicBezTo>
                  <a:pt x="0" y="102"/>
                  <a:pt x="87" y="16"/>
                  <a:pt x="196" y="16"/>
                </a:cubicBezTo>
                <a:lnTo>
                  <a:pt x="1219" y="16"/>
                </a:lnTo>
                <a:cubicBezTo>
                  <a:pt x="1313" y="16"/>
                  <a:pt x="1390" y="92"/>
                  <a:pt x="1390" y="185"/>
                </a:cubicBezTo>
                <a:cubicBezTo>
                  <a:pt x="1390" y="278"/>
                  <a:pt x="1313" y="354"/>
                  <a:pt x="1219" y="354"/>
                </a:cubicBezTo>
                <a:lnTo>
                  <a:pt x="372" y="354"/>
                </a:lnTo>
                <a:lnTo>
                  <a:pt x="372" y="1518"/>
                </a:lnTo>
                <a:lnTo>
                  <a:pt x="1232" y="1518"/>
                </a:lnTo>
                <a:cubicBezTo>
                  <a:pt x="1327" y="1518"/>
                  <a:pt x="1404" y="1594"/>
                  <a:pt x="1404" y="1688"/>
                </a:cubicBezTo>
                <a:cubicBezTo>
                  <a:pt x="1404" y="1781"/>
                  <a:pt x="1327" y="1857"/>
                  <a:pt x="1232" y="1857"/>
                </a:cubicBezTo>
                <a:lnTo>
                  <a:pt x="196" y="1857"/>
                </a:lnTo>
                <a:close/>
                <a:moveTo>
                  <a:pt x="590" y="1099"/>
                </a:moveTo>
                <a:lnTo>
                  <a:pt x="590" y="761"/>
                </a:lnTo>
                <a:lnTo>
                  <a:pt x="1628" y="761"/>
                </a:lnTo>
                <a:cubicBezTo>
                  <a:pt x="1723" y="761"/>
                  <a:pt x="1800" y="837"/>
                  <a:pt x="1800" y="930"/>
                </a:cubicBezTo>
                <a:cubicBezTo>
                  <a:pt x="1800" y="1023"/>
                  <a:pt x="1723" y="1099"/>
                  <a:pt x="1628" y="1099"/>
                </a:cubicBezTo>
                <a:lnTo>
                  <a:pt x="590" y="1099"/>
                </a:lnTo>
                <a:close/>
                <a:moveTo>
                  <a:pt x="2806" y="831"/>
                </a:moveTo>
                <a:cubicBezTo>
                  <a:pt x="2757" y="831"/>
                  <a:pt x="2711" y="812"/>
                  <a:pt x="2677" y="777"/>
                </a:cubicBezTo>
                <a:cubicBezTo>
                  <a:pt x="2605" y="706"/>
                  <a:pt x="2606" y="588"/>
                  <a:pt x="2679" y="515"/>
                </a:cubicBezTo>
                <a:lnTo>
                  <a:pt x="3137" y="56"/>
                </a:lnTo>
                <a:cubicBezTo>
                  <a:pt x="3173" y="20"/>
                  <a:pt x="3220" y="0"/>
                  <a:pt x="3270" y="0"/>
                </a:cubicBezTo>
                <a:cubicBezTo>
                  <a:pt x="3319" y="0"/>
                  <a:pt x="3365" y="19"/>
                  <a:pt x="3399" y="54"/>
                </a:cubicBezTo>
                <a:cubicBezTo>
                  <a:pt x="3471" y="126"/>
                  <a:pt x="3470" y="243"/>
                  <a:pt x="3397" y="316"/>
                </a:cubicBezTo>
                <a:lnTo>
                  <a:pt x="2939" y="775"/>
                </a:lnTo>
                <a:cubicBezTo>
                  <a:pt x="2903" y="811"/>
                  <a:pt x="2856" y="831"/>
                  <a:pt x="2806" y="831"/>
                </a:cubicBezTo>
                <a:close/>
                <a:moveTo>
                  <a:pt x="2252" y="831"/>
                </a:moveTo>
                <a:cubicBezTo>
                  <a:pt x="2202" y="831"/>
                  <a:pt x="2154" y="811"/>
                  <a:pt x="2119" y="775"/>
                </a:cubicBezTo>
                <a:lnTo>
                  <a:pt x="1660" y="316"/>
                </a:lnTo>
                <a:cubicBezTo>
                  <a:pt x="1588" y="243"/>
                  <a:pt x="1587" y="126"/>
                  <a:pt x="1658" y="54"/>
                </a:cubicBezTo>
                <a:cubicBezTo>
                  <a:pt x="1693" y="19"/>
                  <a:pt x="1739" y="0"/>
                  <a:pt x="1787" y="0"/>
                </a:cubicBezTo>
                <a:cubicBezTo>
                  <a:pt x="1837" y="0"/>
                  <a:pt x="1885" y="20"/>
                  <a:pt x="1920" y="56"/>
                </a:cubicBezTo>
                <a:lnTo>
                  <a:pt x="2379" y="515"/>
                </a:lnTo>
                <a:cubicBezTo>
                  <a:pt x="2451" y="588"/>
                  <a:pt x="2452" y="706"/>
                  <a:pt x="2381" y="777"/>
                </a:cubicBezTo>
                <a:cubicBezTo>
                  <a:pt x="2346" y="812"/>
                  <a:pt x="2300" y="831"/>
                  <a:pt x="2252" y="831"/>
                </a:cubicBezTo>
                <a:lnTo>
                  <a:pt x="2252" y="831"/>
                </a:lnTo>
                <a:close/>
              </a:path>
            </a:pathLst>
          </a:custGeom>
          <a:solidFill>
            <a:srgbClr val="20175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AFDB3B-9688-4A95-84F0-C3A055D4AD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83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6" name="think-cell Folie" r:id="rId6" imgW="286" imgH="286" progId="TCLayout.ActiveDocument.1">
                  <p:embed/>
                </p:oleObj>
              </mc:Choice>
              <mc:Fallback>
                <p:oleObj name="think-cell Folie" r:id="rId6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AFDB3B-9688-4A95-84F0-C3A055D4A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A97FA5-C40C-4B40-BB3A-2C1E018019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778EC7-7C11-4F09-ACA3-5CF18AB6BE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86817" y="2096852"/>
            <a:ext cx="7272896" cy="1512168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D5279DB-2657-4704-B49C-55604FFB15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86817" y="3854256"/>
            <a:ext cx="5401233" cy="720080"/>
          </a:xfrm>
        </p:spPr>
        <p:txBody>
          <a:bodyPr anchor="t" anchorCtr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bg1"/>
                </a:solidFill>
                <a:latin typeface="+mn-lt"/>
                <a:cs typeface="Abadi MT Condensed Extra Bold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40F3132C-509C-4287-966A-1251244CAE2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586817" y="4689140"/>
            <a:ext cx="3529571" cy="288032"/>
          </a:xfrm>
        </p:spPr>
        <p:txBody>
          <a:bodyPr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fld id="{0EE4D957-700A-4156-A32B-8178DE68FABC}" type="datetime1">
              <a:rPr lang="en-US"/>
              <a:t>8/31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509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481E13-4175-4F0D-966D-2109B9AE3CDD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99635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38" imgW="286" imgH="286" progId="TCLayout.ActiveDocument.1">
                  <p:embed/>
                </p:oleObj>
              </mc:Choice>
              <mc:Fallback>
                <p:oleObj name="think-cell Folie" r:id="rId38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481E13-4175-4F0D-966D-2109B9AE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74BE97C-FE03-4A6C-BBA2-09E6291090CC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8631E7-C14D-418E-8123-1BD528B5760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236460" y="6356350"/>
            <a:ext cx="1368165" cy="1582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 rtl="0">
              <a:defRPr sz="900">
                <a:solidFill>
                  <a:schemeClr val="tx1"/>
                </a:solidFill>
              </a:defRPr>
            </a:lvl1pPr>
          </a:lstStyle>
          <a:p>
            <a:fld id="{4965A01F-7B96-431E-9C3E-F26622FDBB65}" type="datetime1">
              <a:rPr lang="en-US"/>
              <a:t>8/31/2022</a:t>
            </a:fld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B95E2C-4B37-49A4-88B8-CB9FD1E140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6203950" y="6356350"/>
            <a:ext cx="864158" cy="15419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 rtl="0">
              <a:defRPr sz="900">
                <a:solidFill>
                  <a:schemeClr val="tx1"/>
                </a:solidFill>
              </a:defRPr>
            </a:lvl1pPr>
          </a:lstStyle>
          <a:p>
            <a:fld id="{62CB3E74-FC4B-418A-B5F6-72ED80208EB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B26C2F-D9F3-400B-A4CB-4A13AFC350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6" y="368300"/>
            <a:ext cx="11017250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Slide title forma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97C92C2-1BF1-4901-A94D-EE08E8BC967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76" y="1916113"/>
            <a:ext cx="11017249" cy="4213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 (with space after)</a:t>
            </a:r>
          </a:p>
          <a:p>
            <a:pPr lvl="4"/>
            <a:r>
              <a:rPr lang="en-US" noProof="0" dirty="0"/>
              <a:t>Level 5 (with space after)</a:t>
            </a:r>
          </a:p>
          <a:p>
            <a:pPr lvl="5"/>
            <a:r>
              <a:rPr lang="en-US" noProof="0" dirty="0"/>
              <a:t>Level 6 (with space after)</a:t>
            </a:r>
          </a:p>
          <a:p>
            <a:pPr lvl="6"/>
            <a:r>
              <a:rPr lang="en-US" noProof="0" dirty="0"/>
              <a:t>Level 7 (for tables)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  <a:p>
            <a:pPr lvl="5"/>
            <a:endParaRPr lang="en-US" noProof="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2FB32ED-7313-48F3-BEAB-66A1495A2DE4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 bwMode="gray">
          <a:xfrm>
            <a:off x="601200" y="6376596"/>
            <a:ext cx="576000" cy="124679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1D01EFA-86BB-4DB6-A6C5-97DB9855E6A6}"/>
              </a:ext>
            </a:extLst>
          </p:cNvPr>
          <p:cNvCxnSpPr/>
          <p:nvPr userDrawn="1"/>
        </p:nvCxnSpPr>
        <p:spPr bwMode="gray">
          <a:xfrm>
            <a:off x="587375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3CE7AE3-114B-476C-8D0E-80A9EA81927B}"/>
              </a:ext>
            </a:extLst>
          </p:cNvPr>
          <p:cNvCxnSpPr/>
          <p:nvPr userDrawn="1"/>
        </p:nvCxnSpPr>
        <p:spPr bwMode="gray">
          <a:xfrm>
            <a:off x="3180888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3DA02AB2-3CF6-42D0-9F5C-203D0ED8D898}"/>
              </a:ext>
            </a:extLst>
          </p:cNvPr>
          <p:cNvCxnSpPr/>
          <p:nvPr userDrawn="1"/>
        </p:nvCxnSpPr>
        <p:spPr bwMode="gray">
          <a:xfrm>
            <a:off x="3395663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E3856C-D81D-4206-A57F-ECEE270927E6}"/>
              </a:ext>
            </a:extLst>
          </p:cNvPr>
          <p:cNvCxnSpPr/>
          <p:nvPr userDrawn="1"/>
        </p:nvCxnSpPr>
        <p:spPr bwMode="gray">
          <a:xfrm>
            <a:off x="4117513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D2D45B10-8E0F-4283-90AF-7CF7D7CC9864}"/>
              </a:ext>
            </a:extLst>
          </p:cNvPr>
          <p:cNvCxnSpPr/>
          <p:nvPr userDrawn="1"/>
        </p:nvCxnSpPr>
        <p:spPr bwMode="gray">
          <a:xfrm>
            <a:off x="4332288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CD1F7C8-9209-4739-A992-D36AA0962454}"/>
              </a:ext>
            </a:extLst>
          </p:cNvPr>
          <p:cNvCxnSpPr/>
          <p:nvPr userDrawn="1"/>
        </p:nvCxnSpPr>
        <p:spPr bwMode="gray">
          <a:xfrm>
            <a:off x="5989175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4C6C6F9-782E-4314-B82A-77C046ED46CC}"/>
              </a:ext>
            </a:extLst>
          </p:cNvPr>
          <p:cNvCxnSpPr/>
          <p:nvPr userDrawn="1"/>
        </p:nvCxnSpPr>
        <p:spPr bwMode="gray">
          <a:xfrm>
            <a:off x="6203950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1980BCF-A593-4540-B8C0-EF4E05F71239}"/>
              </a:ext>
            </a:extLst>
          </p:cNvPr>
          <p:cNvCxnSpPr/>
          <p:nvPr userDrawn="1"/>
        </p:nvCxnSpPr>
        <p:spPr bwMode="gray">
          <a:xfrm>
            <a:off x="7860838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F9385A4-5E52-4E1F-B347-939548835811}"/>
              </a:ext>
            </a:extLst>
          </p:cNvPr>
          <p:cNvCxnSpPr/>
          <p:nvPr userDrawn="1"/>
        </p:nvCxnSpPr>
        <p:spPr bwMode="gray">
          <a:xfrm>
            <a:off x="8075613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15C1A9B0-2C3A-4BF1-9C4C-79951B483028}"/>
              </a:ext>
            </a:extLst>
          </p:cNvPr>
          <p:cNvCxnSpPr/>
          <p:nvPr userDrawn="1"/>
        </p:nvCxnSpPr>
        <p:spPr bwMode="gray">
          <a:xfrm>
            <a:off x="8797463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0ED4C48-A128-4303-8E00-9E87475BD643}"/>
              </a:ext>
            </a:extLst>
          </p:cNvPr>
          <p:cNvCxnSpPr/>
          <p:nvPr userDrawn="1"/>
        </p:nvCxnSpPr>
        <p:spPr bwMode="gray">
          <a:xfrm>
            <a:off x="9012238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85881C0-3CD7-4AE8-83A0-F2BBFC7A5116}"/>
              </a:ext>
            </a:extLst>
          </p:cNvPr>
          <p:cNvCxnSpPr/>
          <p:nvPr userDrawn="1"/>
        </p:nvCxnSpPr>
        <p:spPr bwMode="gray">
          <a:xfrm>
            <a:off x="11604625" y="-171392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E6B8EED-C9F6-4939-B9B8-744AFF2FCB44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332660"/>
            <a:ext cx="0" cy="720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B9FBF19B-603D-45CE-8D10-C3EC1DD40104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1448313"/>
            <a:ext cx="0" cy="7200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6E9C529-BB00-4D99-8467-DDA0B9923A9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1665007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39AE7B6-DC3E-41CE-92B1-01E7183A42F1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1880907"/>
            <a:ext cx="0" cy="7200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407112D-4023-40F1-98F2-4408FB128DA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6093598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C7C8603-FA71-4BA1-93AF-49B1B345C4C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32696" y="6453700"/>
            <a:ext cx="0" cy="7200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0A2D3B76-1599-4406-9B59-11B369507856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9200" rtlCol="0" anchor="ctr"/>
          <a:lstStyle/>
          <a:p>
            <a:pPr algn="ctr"/>
            <a:endParaRPr lang="en-GB" sz="1400" dirty="0"/>
          </a:p>
        </p:txBody>
      </p:sp>
      <p:sp>
        <p:nvSpPr>
          <p:cNvPr id="10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2D787B32-02DB-4EE0-A4D9-3DD982DCA254}"/>
              </a:ext>
            </a:extLst>
          </p:cNvPr>
          <p:cNvSpPr txBox="1"/>
          <p:nvPr userDrawn="1"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14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8" r:id="rId2"/>
    <p:sldLayoutId id="2147483669" r:id="rId3"/>
    <p:sldLayoutId id="2147483670" r:id="rId4"/>
    <p:sldLayoutId id="2147483671" r:id="rId5"/>
    <p:sldLayoutId id="2147483673" r:id="rId6"/>
    <p:sldLayoutId id="2147483672" r:id="rId7"/>
    <p:sldLayoutId id="2147483674" r:id="rId8"/>
    <p:sldLayoutId id="2147483675" r:id="rId9"/>
    <p:sldLayoutId id="2147483660" r:id="rId10"/>
    <p:sldLayoutId id="2147483677" r:id="rId11"/>
    <p:sldLayoutId id="2147483679" r:id="rId12"/>
    <p:sldLayoutId id="2147483676" r:id="rId13"/>
    <p:sldLayoutId id="2147483678" r:id="rId14"/>
    <p:sldLayoutId id="2147483680" r:id="rId15"/>
    <p:sldLayoutId id="2147483681" r:id="rId16"/>
    <p:sldLayoutId id="2147483663" r:id="rId17"/>
    <p:sldLayoutId id="2147483686" r:id="rId18"/>
    <p:sldLayoutId id="2147483650" r:id="rId19"/>
    <p:sldLayoutId id="2147483656" r:id="rId20"/>
    <p:sldLayoutId id="2147483657" r:id="rId21"/>
    <p:sldLayoutId id="2147483667" r:id="rId22"/>
    <p:sldLayoutId id="2147483654" r:id="rId23"/>
    <p:sldLayoutId id="2147483655" r:id="rId24"/>
    <p:sldLayoutId id="2147483771" r:id="rId25"/>
    <p:sldLayoutId id="2147483693" r:id="rId26"/>
    <p:sldLayoutId id="2147483692" r:id="rId27"/>
    <p:sldLayoutId id="2147483687" r:id="rId28"/>
    <p:sldLayoutId id="2147483688" r:id="rId29"/>
    <p:sldLayoutId id="2147483689" r:id="rId30"/>
    <p:sldLayoutId id="2147483690" r:id="rId31"/>
    <p:sldLayoutId id="2147483664" r:id="rId32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88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088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orient="horz" pos="232">
          <p15:clr>
            <a:srgbClr val="F26B43"/>
          </p15:clr>
        </p15:guide>
        <p15:guide id="12" pos="370">
          <p15:clr>
            <a:srgbClr val="F26B43"/>
          </p15:clr>
        </p15:guide>
        <p15:guide id="13" pos="7310">
          <p15:clr>
            <a:srgbClr val="F26B43"/>
          </p15:clr>
        </p15:guide>
        <p15:guide id="14" orient="horz" pos="1071">
          <p15:clr>
            <a:srgbClr val="F26B43"/>
          </p15:clr>
        </p15:guide>
        <p15:guide id="23" orient="horz" pos="12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2.xml"/><Relationship Id="rId7" Type="http://schemas.openxmlformats.org/officeDocument/2006/relationships/oleObject" Target="../embeddings/oleObject34.bin"/><Relationship Id="rId2" Type="http://schemas.openxmlformats.org/officeDocument/2006/relationships/tags" Target="../tags/tag51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6C29CD-42DE-41F2-9026-BB6CBDABD2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044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2" name="think-cell Folie" r:id="rId7" imgW="286" imgH="286" progId="TCLayout.ActiveDocument.1">
                  <p:embed/>
                </p:oleObj>
              </mc:Choice>
              <mc:Fallback>
                <p:oleObj name="think-cell Folie" r:id="rId7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6C29CD-42DE-41F2-9026-BB6CBDABD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A17564-C568-45CE-BAAE-CDA5F2D977F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3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2E31D03-8BAB-453A-AD48-FB7743EAD72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6" y="368300"/>
            <a:ext cx="11017250" cy="684436"/>
          </a:xfrm>
        </p:spPr>
        <p:txBody>
          <a:bodyPr vert="horz"/>
          <a:lstStyle/>
          <a:p>
            <a:r>
              <a:rPr lang="en-US" dirty="0"/>
              <a:t>Table disclosure</a:t>
            </a:r>
          </a:p>
        </p:txBody>
      </p:sp>
      <p:sp>
        <p:nvSpPr>
          <p:cNvPr id="26" name="Untertitel 25">
            <a:extLst>
              <a:ext uri="{FF2B5EF4-FFF2-40B4-BE49-F238E27FC236}">
                <a16:creationId xmlns:a16="http://schemas.microsoft.com/office/drawing/2014/main" id="{DBB68498-3E29-4A44-B938-C6B8C7E9F131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r>
              <a:rPr lang="en-US" dirty="0"/>
              <a:t>Subtitle (24 pt)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CEDB3A-2368-42D4-A2A3-210DFA3CF48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0DFA8E1-E44F-4554-9407-19B13A68FEE3}" type="datetime1">
              <a:rPr lang="en-US"/>
              <a:t>8/31/2022</a:t>
            </a:fld>
            <a:endParaRPr lang="en-US" dirty="0"/>
          </a:p>
        </p:txBody>
      </p:sp>
      <p:graphicFrame>
        <p:nvGraphicFramePr>
          <p:cNvPr id="7" name="Table 2">
            <a:extLst>
              <a:ext uri="{FF2B5EF4-FFF2-40B4-BE49-F238E27FC236}">
                <a16:creationId xmlns:a16="http://schemas.microsoft.com/office/drawing/2014/main" id="{73D6FD01-BFE4-4918-A4CE-1FF18B9B71DE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6924421"/>
              </p:ext>
            </p:extLst>
          </p:nvPr>
        </p:nvGraphicFramePr>
        <p:xfrm>
          <a:off x="587388" y="1916832"/>
          <a:ext cx="11016000" cy="1332000"/>
        </p:xfrm>
        <a:graphic>
          <a:graphicData uri="http://schemas.openxmlformats.org/drawingml/2006/table">
            <a:tbl>
              <a:tblPr firstRow="1">
                <a:tableStyleId>{30FC0DDD-37FB-4523-A006-01308BA8B187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15981780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28288695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4277949936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157055888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Category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/>
                      </a:endParaRPr>
                    </a:p>
                  </a:txBody>
                  <a:tcPr marL="90000" marR="90000" marT="61200" marB="61200"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bg1"/>
                          </a:solidFill>
                        </a:rPr>
                        <a:t>Item</a:t>
                      </a:r>
                    </a:p>
                  </a:txBody>
                  <a:tcPr marL="90000" marR="90000" marT="61200" marB="61200"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noProof="0" dirty="0">
                          <a:solidFill>
                            <a:schemeClr val="bg1"/>
                          </a:solidFill>
                        </a:rPr>
                        <a:t>Price per item &amp; month</a:t>
                      </a:r>
                    </a:p>
                  </a:txBody>
                  <a:tcPr marL="90000" marR="90000" marT="61200" marB="61200"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pecial arrangements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/>
                      </a:endParaRPr>
                    </a:p>
                  </a:txBody>
                  <a:tcPr marL="90000" marR="90000" marT="61200" marB="61200"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9503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New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</a:rPr>
                        <a:t>Quisque sed tortor 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UR 700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492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5375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New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 </a:t>
                      </a:r>
                      <a:r>
                        <a:rPr lang="en-US" sz="1200" noProof="0" dirty="0">
                          <a:solidFill>
                            <a:schemeClr val="tx1"/>
                          </a:solidFill>
                        </a:rPr>
                        <a:t>Quisque sed tortor 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UR 1,400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81292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New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</a:rPr>
                        <a:t>Quisque sed tortor 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UR 700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</a:rPr>
                        <a:t>Quisque sed tortor ac erat </a:t>
                      </a:r>
                      <a:endParaRPr kumimoji="0" lang="en-US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61200" marB="612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0249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9293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NMVN6Iqu93BoG2_nkC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2"/>
  <p:tag name="MIO_HDS" val="True"/>
  <p:tag name="MIO_SKIPVERSION" val="01.01.0001 00:00:00"/>
  <p:tag name="MIO_EKGUID" val="ac7af872-475c-48d5-9e7c-b8348d96496a"/>
  <p:tag name="MIO_UPDATE" val="True"/>
  <p:tag name="MIO_VERSION" val="27.05.2021 09:18:52"/>
  <p:tag name="MIO_DBID" val="0F45B44C-9BC7-4D85-81C4-7155EE70A7B9"/>
  <p:tag name="MIO_LASTDOWNLOADED" val="31.08.2022 09:51:52.068"/>
  <p:tag name="MIO_OBJECTNAME" val="EUREX EX"/>
  <p:tag name="MIO_CDID" val="23744607-847c-4fd7-bcdf-dea3f117acd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hGzxNS3SNhetisjE3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B7Uf6NQcSpdmB2hkyL1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69c61f5-04ad-4798-b315-b87f17608735"/>
  <p:tag name="MIO_GUID" val="db738860-9b45-4873-bd1e-faf907dda011"/>
  <p:tag name="MIO_UPDATE" val="True"/>
  <p:tag name="MIO_VERSION" val="31.03.2021 08:51:05"/>
  <p:tag name="MIO_DBID" val="0F45B44C-9BC7-4D85-81C4-7155EE70A7B9"/>
  <p:tag name="MIO_LASTDOWNLOADED" val="31.08.2022 09:52:41.380"/>
  <p:tag name="MIO_OBJECTNAME" val="Table 2"/>
  <p:tag name="MIO_LASTEDITORNAME" val="Stephan Grambac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MzkI3SdevhKBdvBvy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REX EX">
  <a:themeElements>
    <a:clrScheme name="EUREX">
      <a:dk1>
        <a:srgbClr val="201751"/>
      </a:dk1>
      <a:lt1>
        <a:srgbClr val="FEFFFF"/>
      </a:lt1>
      <a:dk2>
        <a:srgbClr val="00CE7D"/>
      </a:dk2>
      <a:lt2>
        <a:srgbClr val="F3F3F3"/>
      </a:lt2>
      <a:accent1>
        <a:srgbClr val="201751"/>
      </a:accent1>
      <a:accent2>
        <a:srgbClr val="00CE7D"/>
      </a:accent2>
      <a:accent3>
        <a:srgbClr val="3C7DBE"/>
      </a:accent3>
      <a:accent4>
        <a:srgbClr val="DCDCDC"/>
      </a:accent4>
      <a:accent5>
        <a:srgbClr val="00454D"/>
      </a:accent5>
      <a:accent6>
        <a:srgbClr val="F3F3F3"/>
      </a:accent6>
      <a:hlink>
        <a:srgbClr val="00CE7D"/>
      </a:hlink>
      <a:folHlink>
        <a:srgbClr val="201751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bIns="792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Eurex Blue">
      <a:srgbClr val="201751"/>
    </a:custClr>
    <a:custClr name="Teal">
      <a:srgbClr val="00454D"/>
    </a:custClr>
    <a:custClr name="Purple">
      <a:srgbClr val="66348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Eurex Green">
      <a:srgbClr val="00CE7D"/>
    </a:custClr>
    <a:custClr name="Light Blue">
      <a:srgbClr val="3C7DBE"/>
    </a:custClr>
    <a:custClr name="Peach">
      <a:srgbClr val="FFAAA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Eurex Light Grey">
      <a:srgbClr val="F3F3F3"/>
    </a:custClr>
    <a:custClr name="Grey">
      <a:srgbClr val="DCDCDC"/>
    </a:custClr>
    <a:custClr name="Aqua Mint">
      <a:srgbClr val="A0DC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BG_PowerPoint_16x9.potx" id="{2DE12C27-C869-4AA8-BE60-AB0248EDDCBE}" vid="{F2A30D54-A040-4E62-98AC-277815C9D092}"/>
    </a:ext>
  </a:extLst>
</a:theme>
</file>

<file path=ppt/theme/theme2.xml><?xml version="1.0" encoding="utf-8"?>
<a:theme xmlns:a="http://schemas.openxmlformats.org/drawingml/2006/main" name="Office">
  <a:themeElements>
    <a:clrScheme name="Benutzerdefiniert 143">
      <a:dk1>
        <a:srgbClr val="000099"/>
      </a:dk1>
      <a:lt1>
        <a:sysClr val="window" lastClr="FFFFFF"/>
      </a:lt1>
      <a:dk2>
        <a:srgbClr val="696969"/>
      </a:dk2>
      <a:lt2>
        <a:srgbClr val="BDBDBD"/>
      </a:lt2>
      <a:accent1>
        <a:srgbClr val="000099"/>
      </a:accent1>
      <a:accent2>
        <a:srgbClr val="00A5FF"/>
      </a:accent2>
      <a:accent3>
        <a:srgbClr val="8CDCFF"/>
      </a:accent3>
      <a:accent4>
        <a:srgbClr val="404040"/>
      </a:accent4>
      <a:accent5>
        <a:srgbClr val="696969"/>
      </a:accent5>
      <a:accent6>
        <a:srgbClr val="BDBDBD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43">
      <a:dk1>
        <a:srgbClr val="000099"/>
      </a:dk1>
      <a:lt1>
        <a:sysClr val="window" lastClr="FFFFFF"/>
      </a:lt1>
      <a:dk2>
        <a:srgbClr val="696969"/>
      </a:dk2>
      <a:lt2>
        <a:srgbClr val="BDBDBD"/>
      </a:lt2>
      <a:accent1>
        <a:srgbClr val="000099"/>
      </a:accent1>
      <a:accent2>
        <a:srgbClr val="00A5FF"/>
      </a:accent2>
      <a:accent3>
        <a:srgbClr val="8CDCFF"/>
      </a:accent3>
      <a:accent4>
        <a:srgbClr val="404040"/>
      </a:accent4>
      <a:accent5>
        <a:srgbClr val="696969"/>
      </a:accent5>
      <a:accent6>
        <a:srgbClr val="BDBDBD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+T0FBRFxmczE2MzwvVXNlck5hbWU+PERhdGVUaW1lPjA2LjA3LjIwMjAgMDc6MDc6MTQ8L0RhdGVUaW1lPjxMYWJlbFN0cmluZz5JbnRlcm5hbDwvTGFiZWxTdHJpbmc+PC9pdGVtPjwvbGFiZWxIaXN0b3J5Pg==</Value>
</WrappedLabelHistory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FA1A456BB2474CA0988A479C79164C" ma:contentTypeVersion="1" ma:contentTypeDescription="Create a new document." ma:contentTypeScope="" ma:versionID="bff8b78d8d7dc9ed23c4093ec420ab79">
  <xsd:schema xmlns:xsd="http://www.w3.org/2001/XMLSchema" xmlns:xs="http://www.w3.org/2001/XMLSchema" xmlns:p="http://schemas.microsoft.com/office/2006/metadata/properties" xmlns:ns2="df4d7699-4ea4-4ced-9b2a-186e24d6677e" targetNamespace="http://schemas.microsoft.com/office/2006/metadata/properties" ma:root="true" ma:fieldsID="260ade15b387eab0117e44c0ebc80b3c" ns2:_="">
    <xsd:import namespace="df4d7699-4ea4-4ced-9b2a-186e24d6677e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d7699-4ea4-4ced-9b2a-186e24d667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defaultValue">
  <element uid="id_classification_internalonly" value=""/>
</sisl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9CB585-2336-43C2-AB32-C15289EAD842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BCB70BCA-F6FF-485F-A62F-5CBF210DC2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4d7699-4ea4-4ced-9b2a-186e24d6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C2374D-CD9E-4A85-BB91-5EDF003BEB0C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df4d7699-4ea4-4ced-9b2a-186e24d6677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446EEAB6-639B-4054-AAB8-D3D1362310BB}">
  <ds:schemaRefs>
    <ds:schemaRef ds:uri="http://www.w3.org/2001/XMLSchema"/>
    <ds:schemaRef ds:uri="http://www.boldonjames.com/2008/01/sie/internal/label"/>
  </ds:schemaRefs>
</ds:datastoreItem>
</file>

<file path=customXml/itemProps5.xml><?xml version="1.0" encoding="utf-8"?>
<ds:datastoreItem xmlns:ds="http://schemas.openxmlformats.org/officeDocument/2006/customXml" ds:itemID="{3100CE57-8C6A-425A-8EDC-17F7ED36948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BG_PowerPoint_16x9</Template>
  <TotalTime>0</TotalTime>
  <Words>42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EUREX EX</vt:lpstr>
      <vt:lpstr>think-cell Folie</vt:lpstr>
      <vt:lpstr>Table disclosure</vt:lpstr>
    </vt:vector>
  </TitlesOfParts>
  <Company>Deutsche Börs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  Frankfurt am Main</dc:title>
  <dc:creator>Christian Pohl</dc:creator>
  <cp:lastModifiedBy>Katarzyna Kutsarov</cp:lastModifiedBy>
  <cp:revision>749</cp:revision>
  <cp:lastPrinted>2020-07-06T13:20:28Z</cp:lastPrinted>
  <dcterms:created xsi:type="dcterms:W3CDTF">2019-08-07T09:50:22Z</dcterms:created>
  <dcterms:modified xsi:type="dcterms:W3CDTF">2022-08-31T07:5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55c3e9b4-741f-437c-a367-a716f2ad73ca</vt:lpwstr>
  </property>
  <property fmtid="{D5CDD505-2E9C-101B-9397-08002B2CF9AE}" pid="3" name="bjDocumentLabelXML">
    <vt:lpwstr>&lt;?xml version="1.0" encoding="us-ascii"?&gt;&lt;sisl xmlns:xsi="http://www.w3.org/2001/XMLSchema-instance" xmlns:xsd="http://www.w3.org/2001/XMLSchema" sislVersion="0" policy="5e216652-7cb1-42d3-a22f-fb5c7f348db5" origin="defaultValue" xmlns="http://www.boldonj</vt:lpwstr>
  </property>
  <property fmtid="{D5CDD505-2E9C-101B-9397-08002B2CF9AE}" pid="4" name="bjDocumentLabelXML-0">
    <vt:lpwstr>ames.com/2008/01/sie/internal/label"&gt;&lt;element uid="id_classification_internalonly" value="" /&gt;&lt;/sisl&gt;</vt:lpwstr>
  </property>
  <property fmtid="{D5CDD505-2E9C-101B-9397-08002B2CF9AE}" pid="5" name="bjDocumentSecurityLabel">
    <vt:lpwstr>Internal</vt:lpwstr>
  </property>
  <property fmtid="{D5CDD505-2E9C-101B-9397-08002B2CF9AE}" pid="6" name="DBG_Classification_ID">
    <vt:lpwstr>2</vt:lpwstr>
  </property>
  <property fmtid="{D5CDD505-2E9C-101B-9397-08002B2CF9AE}" pid="7" name="DBG_Classification_Name">
    <vt:lpwstr>Internal</vt:lpwstr>
  </property>
  <property fmtid="{D5CDD505-2E9C-101B-9397-08002B2CF9AE}" pid="8" name="bjSaver">
    <vt:lpwstr>vnPAeyMGvls4PXsQK3RIBA+hjsOsLQ8W</vt:lpwstr>
  </property>
  <property fmtid="{D5CDD505-2E9C-101B-9397-08002B2CF9AE}" pid="9" name="ContentTypeId">
    <vt:lpwstr>0x0101001CFA1A456BB2474CA0988A479C79164C</vt:lpwstr>
  </property>
  <property fmtid="{D5CDD505-2E9C-101B-9397-08002B2CF9AE}" pid="10" name="bjLabelHistoryID">
    <vt:lpwstr>{599CB585-2336-43C2-AB32-C15289EAD842}</vt:lpwstr>
  </property>
  <property fmtid="{D5CDD505-2E9C-101B-9397-08002B2CF9AE}" pid="11" name="MSIP_Label_2e952e98-911c-4aff-840a-f71bc6baaf7f_Enabled">
    <vt:lpwstr>true</vt:lpwstr>
  </property>
  <property fmtid="{D5CDD505-2E9C-101B-9397-08002B2CF9AE}" pid="12" name="MSIP_Label_2e952e98-911c-4aff-840a-f71bc6baaf7f_SetDate">
    <vt:lpwstr>2022-08-31T07:55:35Z</vt:lpwstr>
  </property>
  <property fmtid="{D5CDD505-2E9C-101B-9397-08002B2CF9AE}" pid="13" name="MSIP_Label_2e952e98-911c-4aff-840a-f71bc6baaf7f_Method">
    <vt:lpwstr>Standard</vt:lpwstr>
  </property>
  <property fmtid="{D5CDD505-2E9C-101B-9397-08002B2CF9AE}" pid="14" name="MSIP_Label_2e952e98-911c-4aff-840a-f71bc6baaf7f_Name">
    <vt:lpwstr>2e952e98-911c-4aff-840a-f71bc6baaf7f</vt:lpwstr>
  </property>
  <property fmtid="{D5CDD505-2E9C-101B-9397-08002B2CF9AE}" pid="15" name="MSIP_Label_2e952e98-911c-4aff-840a-f71bc6baaf7f_SiteId">
    <vt:lpwstr>e00ddcdf-1e0f-4be5-a37a-894a4731986a</vt:lpwstr>
  </property>
  <property fmtid="{D5CDD505-2E9C-101B-9397-08002B2CF9AE}" pid="16" name="MSIP_Label_2e952e98-911c-4aff-840a-f71bc6baaf7f_ActionId">
    <vt:lpwstr>0301e148-1767-4e33-abff-e778b7669d9c</vt:lpwstr>
  </property>
  <property fmtid="{D5CDD505-2E9C-101B-9397-08002B2CF9AE}" pid="17" name="MSIP_Label_2e952e98-911c-4aff-840a-f71bc6baaf7f_ContentBits">
    <vt:lpwstr>2</vt:lpwstr>
  </property>
</Properties>
</file>